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87" r:id="rId4"/>
    <p:sldMasterId id="2147483648" r:id="rId5"/>
  </p:sldMasterIdLst>
  <p:notesMasterIdLst>
    <p:notesMasterId r:id="rId34"/>
  </p:notesMasterIdLst>
  <p:sldIdLst>
    <p:sldId id="2842" r:id="rId6"/>
    <p:sldId id="2851" r:id="rId7"/>
    <p:sldId id="2895" r:id="rId8"/>
    <p:sldId id="2872" r:id="rId9"/>
    <p:sldId id="2870" r:id="rId10"/>
    <p:sldId id="2845" r:id="rId11"/>
    <p:sldId id="2858" r:id="rId12"/>
    <p:sldId id="2848" r:id="rId13"/>
    <p:sldId id="2891" r:id="rId14"/>
    <p:sldId id="2875" r:id="rId15"/>
    <p:sldId id="2889" r:id="rId16"/>
    <p:sldId id="2876" r:id="rId17"/>
    <p:sldId id="2877" r:id="rId18"/>
    <p:sldId id="2892" r:id="rId19"/>
    <p:sldId id="2878" r:id="rId20"/>
    <p:sldId id="2888" r:id="rId21"/>
    <p:sldId id="2890" r:id="rId22"/>
    <p:sldId id="2880" r:id="rId23"/>
    <p:sldId id="2881" r:id="rId24"/>
    <p:sldId id="2882" r:id="rId25"/>
    <p:sldId id="2883" r:id="rId26"/>
    <p:sldId id="2884" r:id="rId27"/>
    <p:sldId id="2885" r:id="rId28"/>
    <p:sldId id="2886" r:id="rId29"/>
    <p:sldId id="2887" r:id="rId30"/>
    <p:sldId id="2893" r:id="rId31"/>
    <p:sldId id="2894" r:id="rId32"/>
    <p:sldId id="2868" r:id="rId33"/>
  </p:sldIdLst>
  <p:sldSz cx="12192000" cy="6858000"/>
  <p:notesSz cx="6858000" cy="9144000"/>
  <p:defaultTextStyle>
    <a:defPPr>
      <a:defRPr lang="en-A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1232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524"/>
    <p:restoredTop sz="61218"/>
  </p:normalViewPr>
  <p:slideViewPr>
    <p:cSldViewPr snapToGrid="0">
      <p:cViewPr varScale="1">
        <p:scale>
          <a:sx n="86" d="100"/>
          <a:sy n="86" d="100"/>
        </p:scale>
        <p:origin x="2520" y="192"/>
      </p:cViewPr>
      <p:guideLst>
        <p:guide orient="horz" pos="2160"/>
        <p:guide pos="1232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21" Type="http://schemas.openxmlformats.org/officeDocument/2006/relationships/slide" Target="slides/slide16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presProps" Target="presProps.xml"/><Relationship Id="rId8" Type="http://schemas.openxmlformats.org/officeDocument/2006/relationships/slide" Target="slides/slide3.xml"/><Relationship Id="rId3" Type="http://schemas.openxmlformats.org/officeDocument/2006/relationships/customXml" Target="../customXml/item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6188893-916A-2349-9F83-B1A3C31CBFA3}" type="datetimeFigureOut">
              <a:rPr lang="en-US" smtClean="0"/>
              <a:t>4/10/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3725BC4-7CBB-F14C-8455-841A2CC2D4E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39907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725BC4-7CBB-F14C-8455-841A2CC2D4E1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234672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T" sz="15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725BC4-7CBB-F14C-8455-841A2CC2D4E1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369608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T" sz="15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725BC4-7CBB-F14C-8455-841A2CC2D4E1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915831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T" sz="15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725BC4-7CBB-F14C-8455-841A2CC2D4E1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780581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sz="2400" b="0" i="0" dirty="0">
              <a:solidFill>
                <a:srgbClr val="374151"/>
              </a:solidFill>
              <a:effectLst/>
              <a:latin typeface="Söhne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725BC4-7CBB-F14C-8455-841A2CC2D4E1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287185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T" sz="15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725BC4-7CBB-F14C-8455-841A2CC2D4E1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383297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T" sz="15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725BC4-7CBB-F14C-8455-841A2CC2D4E1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678354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T" sz="15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725BC4-7CBB-F14C-8455-841A2CC2D4E1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796068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T" sz="15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725BC4-7CBB-F14C-8455-841A2CC2D4E1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134741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725BC4-7CBB-F14C-8455-841A2CC2D4E1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555245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725BC4-7CBB-F14C-8455-841A2CC2D4E1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15746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725BC4-7CBB-F14C-8455-841A2CC2D4E1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260254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T" sz="15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725BC4-7CBB-F14C-8455-841A2CC2D4E1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754684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725BC4-7CBB-F14C-8455-841A2CC2D4E1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349122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725BC4-7CBB-F14C-8455-841A2CC2D4E1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757758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725BC4-7CBB-F14C-8455-841A2CC2D4E1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934617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725BC4-7CBB-F14C-8455-841A2CC2D4E1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431081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725BC4-7CBB-F14C-8455-841A2CC2D4E1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998027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725BC4-7CBB-F14C-8455-841A2CC2D4E1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455055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T" sz="15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725BC4-7CBB-F14C-8455-841A2CC2D4E1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80010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F80B4491-1EFD-8AE4-734D-F71920F573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CAB4C3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8ACC65A1-A26B-E9DE-5230-1E7E0D38AB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0492" y="2079038"/>
            <a:ext cx="6489210" cy="1136230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/>
              <a:t>Click here to add your title</a:t>
            </a:r>
            <a:endParaRPr lang="hu-HU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6CE0FAC8-DC12-DD62-3F64-91AD36E99BD2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810492" y="3259998"/>
            <a:ext cx="6489211" cy="1136230"/>
          </a:xfrm>
        </p:spPr>
        <p:txBody>
          <a:bodyPr>
            <a:norm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add subtitl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12C97046-BEFA-4A11-2847-9FE0BD98C19E}"/>
              </a:ext>
            </a:extLst>
          </p:cNvPr>
          <p:cNvSpPr>
            <a:spLocks noGrp="1"/>
          </p:cNvSpPr>
          <p:nvPr>
            <p:ph type="body" sz="half" idx="14" hasCustomPrompt="1"/>
          </p:nvPr>
        </p:nvSpPr>
        <p:spPr>
          <a:xfrm>
            <a:off x="810492" y="5790837"/>
            <a:ext cx="6489211" cy="690868"/>
          </a:xfrm>
        </p:spPr>
        <p:txBody>
          <a:bodyPr anchor="b">
            <a:normAutofit/>
          </a:bodyPr>
          <a:lstStyle>
            <a:lvl1pPr marL="0" indent="0" algn="l">
              <a:buNone/>
              <a:defRPr sz="2400" cap="all" baseline="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NAME OF PRESENTER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85C3DD1C-C8BF-52E3-AF96-171D6128E2C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10492" y="534631"/>
            <a:ext cx="1789273" cy="363447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7383B9A2-6420-CF1E-595E-60E312A77371}"/>
              </a:ext>
            </a:extLst>
          </p:cNvPr>
          <p:cNvSpPr/>
          <p:nvPr userDrawn="1"/>
        </p:nvSpPr>
        <p:spPr>
          <a:xfrm>
            <a:off x="893639" y="1945139"/>
            <a:ext cx="1284137" cy="13389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3A3C2EBF-C478-C333-7C8D-70DE4E4D3C0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719930" y="5790838"/>
            <a:ext cx="3012325" cy="690868"/>
          </a:xfrm>
          <a:prstGeom prst="rect">
            <a:avLst/>
          </a:prstGeom>
        </p:spPr>
        <p:txBody>
          <a:bodyPr anchor="b"/>
          <a:lstStyle>
            <a:lvl1pPr algn="r">
              <a:defRPr sz="1600">
                <a:solidFill>
                  <a:schemeClr val="bg1"/>
                </a:solidFill>
              </a:defRPr>
            </a:lvl1pPr>
          </a:lstStyle>
          <a:p>
            <a:fld id="{E6E320F8-A717-0848-9F77-518345B9133F}" type="datetime3">
              <a:rPr lang="en-US" smtClean="0"/>
              <a:pPr/>
              <a:t>10 April 2024</a:t>
            </a:fld>
            <a:endParaRPr lang="en-US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17204980-A9C4-3A50-1B54-E932FAE8DFC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flipH="1">
            <a:off x="8569938" y="-78888"/>
            <a:ext cx="7244123" cy="7015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261864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Midd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E5CE04-C121-2373-E7E4-45C22E1AEB4E}"/>
              </a:ext>
            </a:extLst>
          </p:cNvPr>
          <p:cNvSpPr txBox="1">
            <a:spLocks/>
          </p:cNvSpPr>
          <p:nvPr userDrawn="1"/>
        </p:nvSpPr>
        <p:spPr>
          <a:xfrm>
            <a:off x="810492" y="862770"/>
            <a:ext cx="10515600" cy="827918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88BFA983-8CCF-D515-E831-42BF7D4520E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2473938" y="-78888"/>
            <a:ext cx="7244123" cy="7015776"/>
          </a:xfrm>
          <a:prstGeom prst="rect">
            <a:avLst/>
          </a:prstGeom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90721FBE-3692-BEFE-6106-568A60CBAC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0492" y="1878630"/>
            <a:ext cx="10515600" cy="2104580"/>
          </a:xfrm>
          <a:prstGeom prst="rect">
            <a:avLst/>
          </a:prstGeom>
        </p:spPr>
        <p:txBody>
          <a:bodyPr anchor="b">
            <a:normAutofit/>
          </a:bodyPr>
          <a:lstStyle>
            <a:lvl1pPr algn="ctr"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GB"/>
              <a:t>Click here to add your title</a:t>
            </a:r>
            <a:endParaRPr lang="hu-HU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AE7D004D-56E2-25EE-1209-662EE76DD3E5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810492" y="4188818"/>
            <a:ext cx="10515600" cy="455548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add subtitle</a:t>
            </a:r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8038FB8C-DE8B-E886-4E33-FD78D4A377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10492" y="534631"/>
            <a:ext cx="1789273" cy="363447"/>
          </a:xfrm>
          <a:prstGeom prst="rect">
            <a:avLst/>
          </a:prstGeom>
        </p:spPr>
      </p:pic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C97F50AC-8779-DFBA-27EC-34077B7E8859}"/>
              </a:ext>
            </a:extLst>
          </p:cNvPr>
          <p:cNvSpPr>
            <a:spLocks noGrp="1"/>
          </p:cNvSpPr>
          <p:nvPr>
            <p:ph type="body" sz="half" idx="14" hasCustomPrompt="1"/>
          </p:nvPr>
        </p:nvSpPr>
        <p:spPr>
          <a:xfrm>
            <a:off x="865907" y="5790474"/>
            <a:ext cx="6489211" cy="690868"/>
          </a:xfrm>
        </p:spPr>
        <p:txBody>
          <a:bodyPr anchor="b">
            <a:normAutofit/>
          </a:bodyPr>
          <a:lstStyle>
            <a:lvl1pPr marL="0" indent="0" algn="l">
              <a:buNone/>
              <a:defRPr sz="2400" cap="all" baseline="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NAME OF PRESENTER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0FBDC65B-4BCF-4731-4A94-CA32AE17FBA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039319" y="5790838"/>
            <a:ext cx="3286773" cy="690868"/>
          </a:xfrm>
          <a:prstGeom prst="rect">
            <a:avLst/>
          </a:prstGeom>
        </p:spPr>
        <p:txBody>
          <a:bodyPr anchor="b"/>
          <a:lstStyle>
            <a:lvl1pPr algn="r">
              <a:defRPr sz="1600">
                <a:solidFill>
                  <a:schemeClr val="bg1"/>
                </a:solidFill>
              </a:defRPr>
            </a:lvl1pPr>
          </a:lstStyle>
          <a:p>
            <a:fld id="{E6E320F8-A717-0848-9F77-518345B9133F}" type="datetime3">
              <a:rPr lang="en-US" smtClean="0"/>
              <a:pPr/>
              <a:t>10 April 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581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E5CE04-C121-2373-E7E4-45C22E1AEB4E}"/>
              </a:ext>
            </a:extLst>
          </p:cNvPr>
          <p:cNvSpPr txBox="1">
            <a:spLocks/>
          </p:cNvSpPr>
          <p:nvPr userDrawn="1"/>
        </p:nvSpPr>
        <p:spPr>
          <a:xfrm>
            <a:off x="810492" y="862770"/>
            <a:ext cx="10515600" cy="827918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88BFA983-8CCF-D515-E831-42BF7D4520E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2921086" y="381000"/>
            <a:ext cx="6294410" cy="6096000"/>
          </a:xfrm>
          <a:prstGeom prst="rect">
            <a:avLst/>
          </a:prstGeom>
        </p:spPr>
      </p:pic>
      <p:sp>
        <p:nvSpPr>
          <p:cNvPr id="16" name="Title Placeholder 7">
            <a:extLst>
              <a:ext uri="{FF2B5EF4-FFF2-40B4-BE49-F238E27FC236}">
                <a16:creationId xmlns:a16="http://schemas.microsoft.com/office/drawing/2014/main" id="{418573F5-54B9-5F67-1513-BD975E7E99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862770"/>
            <a:ext cx="10515600" cy="8279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cap="all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AGENDA TITLE</a:t>
            </a:r>
            <a:endParaRPr lang="hu-HU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86A7EE7-2FD7-FB95-18A3-662D630B21D6}"/>
              </a:ext>
            </a:extLst>
          </p:cNvPr>
          <p:cNvSpPr/>
          <p:nvPr userDrawn="1"/>
        </p:nvSpPr>
        <p:spPr>
          <a:xfrm>
            <a:off x="921611" y="728870"/>
            <a:ext cx="1284137" cy="13389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6CEF4C7E-DA65-5508-1443-326D14ABE6F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200" y="2188332"/>
            <a:ext cx="10515600" cy="3988630"/>
          </a:xfrm>
        </p:spPr>
        <p:txBody>
          <a:bodyPr numCol="2"/>
          <a:lstStyle>
            <a:lvl1pPr marL="514350" indent="-514350">
              <a:lnSpc>
                <a:spcPct val="150000"/>
              </a:lnSpc>
              <a:buClr>
                <a:schemeClr val="tx2"/>
              </a:buClr>
              <a:buSzPct val="150000"/>
              <a:buFont typeface="+mj-lt"/>
              <a:buAutoNum type="arabicPeriod"/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First</a:t>
            </a:r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2720446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597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F80B4491-1EFD-8AE4-734D-F71920F573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CAB4C3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820EB844-6430-77BD-44EC-FAD59DDFDB56}"/>
              </a:ext>
            </a:extLst>
          </p:cNvPr>
          <p:cNvSpPr/>
          <p:nvPr userDrawn="1"/>
        </p:nvSpPr>
        <p:spPr>
          <a:xfrm>
            <a:off x="671162" y="1011628"/>
            <a:ext cx="992188" cy="992188"/>
          </a:xfrm>
          <a:prstGeom prst="ellipse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noFill/>
              </a:ln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6E5CE04-C121-2373-E7E4-45C22E1AEB4E}"/>
              </a:ext>
            </a:extLst>
          </p:cNvPr>
          <p:cNvSpPr txBox="1">
            <a:spLocks/>
          </p:cNvSpPr>
          <p:nvPr userDrawn="1"/>
        </p:nvSpPr>
        <p:spPr>
          <a:xfrm>
            <a:off x="810492" y="862770"/>
            <a:ext cx="10515600" cy="827918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8ACC65A1-A26B-E9DE-5230-1E7E0D38AB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27378" y="1168407"/>
            <a:ext cx="7213392" cy="2378047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/>
              <a:t>Click here to add section title</a:t>
            </a:r>
            <a:endParaRPr lang="hu-HU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AE3C67AC-197D-800F-B947-EB62F341AA86}"/>
              </a:ext>
            </a:extLst>
          </p:cNvPr>
          <p:cNvSpPr>
            <a:spLocks noGrp="1"/>
          </p:cNvSpPr>
          <p:nvPr>
            <p:ph type="body" sz="half" idx="14" hasCustomPrompt="1"/>
          </p:nvPr>
        </p:nvSpPr>
        <p:spPr>
          <a:xfrm>
            <a:off x="579357" y="1187925"/>
            <a:ext cx="1175798" cy="639595"/>
          </a:xfrm>
        </p:spPr>
        <p:txBody>
          <a:bodyPr anchor="ctr">
            <a:noAutofit/>
          </a:bodyPr>
          <a:lstStyle>
            <a:lvl1pPr marL="0" indent="0" algn="ctr">
              <a:buNone/>
              <a:defRPr sz="3600" cap="all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NR.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A80D9323-3C24-24E7-FF1A-2CE274D0A5B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4201611" y="3546454"/>
            <a:ext cx="7771584" cy="75266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45909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4089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Midd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E5CE04-C121-2373-E7E4-45C22E1AEB4E}"/>
              </a:ext>
            </a:extLst>
          </p:cNvPr>
          <p:cNvSpPr txBox="1">
            <a:spLocks/>
          </p:cNvSpPr>
          <p:nvPr userDrawn="1"/>
        </p:nvSpPr>
        <p:spPr>
          <a:xfrm>
            <a:off x="810492" y="862770"/>
            <a:ext cx="10515600" cy="827918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88BFA983-8CCF-D515-E831-42BF7D4520E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2473938" y="-78888"/>
            <a:ext cx="7244123" cy="7015776"/>
          </a:xfrm>
          <a:prstGeom prst="rect">
            <a:avLst/>
          </a:prstGeom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90721FBE-3692-BEFE-6106-568A60CBAC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0492" y="1878630"/>
            <a:ext cx="10515600" cy="2104580"/>
          </a:xfrm>
          <a:prstGeom prst="rect">
            <a:avLst/>
          </a:prstGeom>
        </p:spPr>
        <p:txBody>
          <a:bodyPr anchor="b">
            <a:normAutofit/>
          </a:bodyPr>
          <a:lstStyle>
            <a:lvl1pPr algn="ctr"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GB"/>
              <a:t>Click here to add your title</a:t>
            </a:r>
            <a:endParaRPr lang="hu-HU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AE7D004D-56E2-25EE-1209-662EE76DD3E5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810492" y="4188818"/>
            <a:ext cx="10515600" cy="455548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add subtitle</a:t>
            </a:r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8038FB8C-DE8B-E886-4E33-FD78D4A377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10492" y="534631"/>
            <a:ext cx="1789273" cy="363447"/>
          </a:xfrm>
          <a:prstGeom prst="rect">
            <a:avLst/>
          </a:prstGeom>
        </p:spPr>
      </p:pic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C97F50AC-8779-DFBA-27EC-34077B7E8859}"/>
              </a:ext>
            </a:extLst>
          </p:cNvPr>
          <p:cNvSpPr>
            <a:spLocks noGrp="1"/>
          </p:cNvSpPr>
          <p:nvPr>
            <p:ph type="body" sz="half" idx="14" hasCustomPrompt="1"/>
          </p:nvPr>
        </p:nvSpPr>
        <p:spPr>
          <a:xfrm>
            <a:off x="865907" y="5790474"/>
            <a:ext cx="6489211" cy="690868"/>
          </a:xfrm>
        </p:spPr>
        <p:txBody>
          <a:bodyPr anchor="b">
            <a:normAutofit/>
          </a:bodyPr>
          <a:lstStyle>
            <a:lvl1pPr marL="0" indent="0" algn="l">
              <a:buNone/>
              <a:defRPr sz="2400" cap="all" baseline="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NAME OF PRESENTER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0FBDC65B-4BCF-4731-4A94-CA32AE17FBA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039319" y="5790838"/>
            <a:ext cx="3286773" cy="690868"/>
          </a:xfrm>
          <a:prstGeom prst="rect">
            <a:avLst/>
          </a:prstGeom>
        </p:spPr>
        <p:txBody>
          <a:bodyPr anchor="b"/>
          <a:lstStyle>
            <a:lvl1pPr algn="r">
              <a:defRPr sz="1600">
                <a:solidFill>
                  <a:schemeClr val="bg1"/>
                </a:solidFill>
              </a:defRPr>
            </a:lvl1pPr>
          </a:lstStyle>
          <a:p>
            <a:fld id="{E6E320F8-A717-0848-9F77-518345B9133F}" type="datetime3">
              <a:rPr lang="en-US" smtClean="0"/>
              <a:pPr/>
              <a:t>10 April 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5818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E5CE04-C121-2373-E7E4-45C22E1AEB4E}"/>
              </a:ext>
            </a:extLst>
          </p:cNvPr>
          <p:cNvSpPr txBox="1">
            <a:spLocks/>
          </p:cNvSpPr>
          <p:nvPr userDrawn="1"/>
        </p:nvSpPr>
        <p:spPr>
          <a:xfrm>
            <a:off x="810492" y="862770"/>
            <a:ext cx="10515600" cy="827918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88BFA983-8CCF-D515-E831-42BF7D4520E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2921086" y="381000"/>
            <a:ext cx="6294410" cy="6096000"/>
          </a:xfrm>
          <a:prstGeom prst="rect">
            <a:avLst/>
          </a:prstGeom>
        </p:spPr>
      </p:pic>
      <p:sp>
        <p:nvSpPr>
          <p:cNvPr id="16" name="Title Placeholder 7">
            <a:extLst>
              <a:ext uri="{FF2B5EF4-FFF2-40B4-BE49-F238E27FC236}">
                <a16:creationId xmlns:a16="http://schemas.microsoft.com/office/drawing/2014/main" id="{418573F5-54B9-5F67-1513-BD975E7E99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862770"/>
            <a:ext cx="10515600" cy="8279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cap="all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AGENDA TITLE</a:t>
            </a:r>
            <a:endParaRPr lang="hu-HU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86A7EE7-2FD7-FB95-18A3-662D630B21D6}"/>
              </a:ext>
            </a:extLst>
          </p:cNvPr>
          <p:cNvSpPr/>
          <p:nvPr userDrawn="1"/>
        </p:nvSpPr>
        <p:spPr>
          <a:xfrm>
            <a:off x="921611" y="728870"/>
            <a:ext cx="1284137" cy="13389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6CEF4C7E-DA65-5508-1443-326D14ABE6F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200" y="2188332"/>
            <a:ext cx="10515600" cy="3988630"/>
          </a:xfrm>
        </p:spPr>
        <p:txBody>
          <a:bodyPr numCol="2"/>
          <a:lstStyle>
            <a:lvl1pPr marL="514350" indent="-514350">
              <a:lnSpc>
                <a:spcPct val="150000"/>
              </a:lnSpc>
              <a:buClr>
                <a:schemeClr val="tx2"/>
              </a:buClr>
              <a:buSzPct val="150000"/>
              <a:buFont typeface="+mj-lt"/>
              <a:buAutoNum type="arabicPeriod"/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First</a:t>
            </a:r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2720446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597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F80B4491-1EFD-8AE4-734D-F71920F573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CAB4C3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820EB844-6430-77BD-44EC-FAD59DDFDB56}"/>
              </a:ext>
            </a:extLst>
          </p:cNvPr>
          <p:cNvSpPr/>
          <p:nvPr userDrawn="1"/>
        </p:nvSpPr>
        <p:spPr>
          <a:xfrm>
            <a:off x="671162" y="1011628"/>
            <a:ext cx="992188" cy="992188"/>
          </a:xfrm>
          <a:prstGeom prst="ellipse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noFill/>
              </a:ln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6E5CE04-C121-2373-E7E4-45C22E1AEB4E}"/>
              </a:ext>
            </a:extLst>
          </p:cNvPr>
          <p:cNvSpPr txBox="1">
            <a:spLocks/>
          </p:cNvSpPr>
          <p:nvPr userDrawn="1"/>
        </p:nvSpPr>
        <p:spPr>
          <a:xfrm>
            <a:off x="810492" y="862770"/>
            <a:ext cx="10515600" cy="827918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8ACC65A1-A26B-E9DE-5230-1E7E0D38AB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27378" y="1168407"/>
            <a:ext cx="7213392" cy="2378047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/>
              <a:t>Click here to add section title</a:t>
            </a:r>
            <a:endParaRPr lang="hu-HU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AE3C67AC-197D-800F-B947-EB62F341AA86}"/>
              </a:ext>
            </a:extLst>
          </p:cNvPr>
          <p:cNvSpPr>
            <a:spLocks noGrp="1"/>
          </p:cNvSpPr>
          <p:nvPr>
            <p:ph type="body" sz="half" idx="14" hasCustomPrompt="1"/>
          </p:nvPr>
        </p:nvSpPr>
        <p:spPr>
          <a:xfrm>
            <a:off x="579357" y="1187925"/>
            <a:ext cx="1175798" cy="639595"/>
          </a:xfrm>
        </p:spPr>
        <p:txBody>
          <a:bodyPr anchor="ctr">
            <a:noAutofit/>
          </a:bodyPr>
          <a:lstStyle>
            <a:lvl1pPr marL="0" indent="0" algn="ctr">
              <a:buNone/>
              <a:defRPr sz="3600" cap="all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NR.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A80D9323-3C24-24E7-FF1A-2CE274D0A5B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4201611" y="3546454"/>
            <a:ext cx="7771584" cy="75266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45909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4089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Midd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E5CE04-C121-2373-E7E4-45C22E1AEB4E}"/>
              </a:ext>
            </a:extLst>
          </p:cNvPr>
          <p:cNvSpPr txBox="1">
            <a:spLocks/>
          </p:cNvSpPr>
          <p:nvPr userDrawn="1"/>
        </p:nvSpPr>
        <p:spPr>
          <a:xfrm>
            <a:off x="810492" y="862770"/>
            <a:ext cx="10515600" cy="827918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88BFA983-8CCF-D515-E831-42BF7D4520E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2473938" y="-78888"/>
            <a:ext cx="7244123" cy="7015776"/>
          </a:xfrm>
          <a:prstGeom prst="rect">
            <a:avLst/>
          </a:prstGeom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90721FBE-3692-BEFE-6106-568A60CBAC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0492" y="1878630"/>
            <a:ext cx="10515600" cy="2104580"/>
          </a:xfrm>
          <a:prstGeom prst="rect">
            <a:avLst/>
          </a:prstGeom>
        </p:spPr>
        <p:txBody>
          <a:bodyPr anchor="b">
            <a:normAutofit/>
          </a:bodyPr>
          <a:lstStyle>
            <a:lvl1pPr algn="ctr"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GB"/>
              <a:t>Click here to add your title</a:t>
            </a:r>
            <a:endParaRPr lang="hu-HU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AE7D004D-56E2-25EE-1209-662EE76DD3E5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810492" y="4188818"/>
            <a:ext cx="10515600" cy="455548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add subtitle</a:t>
            </a:r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8038FB8C-DE8B-E886-4E33-FD78D4A377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10492" y="534631"/>
            <a:ext cx="1789273" cy="363447"/>
          </a:xfrm>
          <a:prstGeom prst="rect">
            <a:avLst/>
          </a:prstGeom>
        </p:spPr>
      </p:pic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C97F50AC-8779-DFBA-27EC-34077B7E8859}"/>
              </a:ext>
            </a:extLst>
          </p:cNvPr>
          <p:cNvSpPr>
            <a:spLocks noGrp="1"/>
          </p:cNvSpPr>
          <p:nvPr>
            <p:ph type="body" sz="half" idx="14" hasCustomPrompt="1"/>
          </p:nvPr>
        </p:nvSpPr>
        <p:spPr>
          <a:xfrm>
            <a:off x="865907" y="5790474"/>
            <a:ext cx="6489211" cy="690868"/>
          </a:xfrm>
        </p:spPr>
        <p:txBody>
          <a:bodyPr anchor="b">
            <a:normAutofit/>
          </a:bodyPr>
          <a:lstStyle>
            <a:lvl1pPr marL="0" indent="0" algn="l">
              <a:buNone/>
              <a:defRPr sz="2400" cap="all" baseline="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NAME OF PRESENTER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0FBDC65B-4BCF-4731-4A94-CA32AE17FBA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039319" y="5790838"/>
            <a:ext cx="3286773" cy="690868"/>
          </a:xfrm>
          <a:prstGeom prst="rect">
            <a:avLst/>
          </a:prstGeom>
        </p:spPr>
        <p:txBody>
          <a:bodyPr anchor="b"/>
          <a:lstStyle>
            <a:lvl1pPr algn="r">
              <a:defRPr sz="1600">
                <a:solidFill>
                  <a:schemeClr val="bg1"/>
                </a:solidFill>
              </a:defRPr>
            </a:lvl1pPr>
          </a:lstStyle>
          <a:p>
            <a:fld id="{E6E320F8-A717-0848-9F77-518345B9133F}" type="datetime3">
              <a:rPr lang="en-US" smtClean="0"/>
              <a:pPr/>
              <a:t>10 April 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5818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E5CE04-C121-2373-E7E4-45C22E1AEB4E}"/>
              </a:ext>
            </a:extLst>
          </p:cNvPr>
          <p:cNvSpPr txBox="1">
            <a:spLocks/>
          </p:cNvSpPr>
          <p:nvPr userDrawn="1"/>
        </p:nvSpPr>
        <p:spPr>
          <a:xfrm>
            <a:off x="810492" y="862770"/>
            <a:ext cx="10515600" cy="827918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88BFA983-8CCF-D515-E831-42BF7D4520E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2921086" y="381000"/>
            <a:ext cx="6294410" cy="6096000"/>
          </a:xfrm>
          <a:prstGeom prst="rect">
            <a:avLst/>
          </a:prstGeom>
        </p:spPr>
      </p:pic>
      <p:sp>
        <p:nvSpPr>
          <p:cNvPr id="16" name="Title Placeholder 7">
            <a:extLst>
              <a:ext uri="{FF2B5EF4-FFF2-40B4-BE49-F238E27FC236}">
                <a16:creationId xmlns:a16="http://schemas.microsoft.com/office/drawing/2014/main" id="{418573F5-54B9-5F67-1513-BD975E7E99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862770"/>
            <a:ext cx="10515600" cy="8279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cap="all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AGENDA TITLE</a:t>
            </a:r>
            <a:endParaRPr lang="hu-HU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86A7EE7-2FD7-FB95-18A3-662D630B21D6}"/>
              </a:ext>
            </a:extLst>
          </p:cNvPr>
          <p:cNvSpPr/>
          <p:nvPr userDrawn="1"/>
        </p:nvSpPr>
        <p:spPr>
          <a:xfrm>
            <a:off x="921611" y="728870"/>
            <a:ext cx="1284137" cy="13389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6CEF4C7E-DA65-5508-1443-326D14ABE6F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200" y="2188332"/>
            <a:ext cx="10515600" cy="3988630"/>
          </a:xfrm>
        </p:spPr>
        <p:txBody>
          <a:bodyPr numCol="2"/>
          <a:lstStyle>
            <a:lvl1pPr marL="514350" indent="-514350">
              <a:lnSpc>
                <a:spcPct val="150000"/>
              </a:lnSpc>
              <a:buClr>
                <a:schemeClr val="tx2"/>
              </a:buClr>
              <a:buSzPct val="150000"/>
              <a:buFont typeface="+mj-lt"/>
              <a:buAutoNum type="arabicPeriod"/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First</a:t>
            </a:r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2720446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597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F80B4491-1EFD-8AE4-734D-F71920F573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CAB4C3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820EB844-6430-77BD-44EC-FAD59DDFDB56}"/>
              </a:ext>
            </a:extLst>
          </p:cNvPr>
          <p:cNvSpPr/>
          <p:nvPr userDrawn="1"/>
        </p:nvSpPr>
        <p:spPr>
          <a:xfrm>
            <a:off x="671162" y="1011628"/>
            <a:ext cx="992188" cy="992188"/>
          </a:xfrm>
          <a:prstGeom prst="ellipse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noFill/>
              </a:ln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6E5CE04-C121-2373-E7E4-45C22E1AEB4E}"/>
              </a:ext>
            </a:extLst>
          </p:cNvPr>
          <p:cNvSpPr txBox="1">
            <a:spLocks/>
          </p:cNvSpPr>
          <p:nvPr userDrawn="1"/>
        </p:nvSpPr>
        <p:spPr>
          <a:xfrm>
            <a:off x="810492" y="862770"/>
            <a:ext cx="10515600" cy="827918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8ACC65A1-A26B-E9DE-5230-1E7E0D38AB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27378" y="1168407"/>
            <a:ext cx="7213392" cy="2378047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/>
              <a:t>Click here to add section title</a:t>
            </a:r>
            <a:endParaRPr lang="hu-HU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AE3C67AC-197D-800F-B947-EB62F341AA86}"/>
              </a:ext>
            </a:extLst>
          </p:cNvPr>
          <p:cNvSpPr>
            <a:spLocks noGrp="1"/>
          </p:cNvSpPr>
          <p:nvPr>
            <p:ph type="body" sz="half" idx="14" hasCustomPrompt="1"/>
          </p:nvPr>
        </p:nvSpPr>
        <p:spPr>
          <a:xfrm>
            <a:off x="579357" y="1187925"/>
            <a:ext cx="1175798" cy="639595"/>
          </a:xfrm>
        </p:spPr>
        <p:txBody>
          <a:bodyPr anchor="ctr">
            <a:noAutofit/>
          </a:bodyPr>
          <a:lstStyle>
            <a:lvl1pPr marL="0" indent="0" algn="ctr">
              <a:buNone/>
              <a:defRPr sz="3600" cap="all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NR.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A80D9323-3C24-24E7-FF1A-2CE274D0A5B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4201611" y="3546454"/>
            <a:ext cx="7771584" cy="75266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45909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4089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+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E5CE04-C121-2373-E7E4-45C22E1AEB4E}"/>
              </a:ext>
            </a:extLst>
          </p:cNvPr>
          <p:cNvSpPr txBox="1">
            <a:spLocks/>
          </p:cNvSpPr>
          <p:nvPr userDrawn="1"/>
        </p:nvSpPr>
        <p:spPr>
          <a:xfrm>
            <a:off x="810492" y="862770"/>
            <a:ext cx="10515600" cy="827918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80B4491-1EFD-8AE4-734D-F71920F573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" y="0"/>
            <a:ext cx="81153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CAB4C3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2D41AEC-0D4E-1EBB-14FF-34A3BCADD17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15300" y="0"/>
            <a:ext cx="4076699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CAB4C3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6" name="Picture Placeholder 16">
            <a:extLst>
              <a:ext uri="{FF2B5EF4-FFF2-40B4-BE49-F238E27FC236}">
                <a16:creationId xmlns:a16="http://schemas.microsoft.com/office/drawing/2014/main" id="{7A926941-2FF8-0130-FFCA-F2D164EA6F2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113533" y="0"/>
            <a:ext cx="4082983" cy="6858000"/>
          </a:xfrm>
        </p:spPr>
        <p:txBody>
          <a:bodyPr rtlCol="0"/>
          <a:lstStyle>
            <a:lvl1pPr marL="0" indent="0" algn="ctr">
              <a:buNone/>
              <a:defRPr/>
            </a:lvl1pPr>
          </a:lstStyle>
          <a:p>
            <a:pPr rtl="0"/>
            <a:r>
              <a:rPr lang="en-GB" noProof="0"/>
              <a:t>Click to add pictur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8ACC65A1-A26B-E9DE-5230-1E7E0D38AB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4347" y="4022753"/>
            <a:ext cx="4949018" cy="2378047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here to add section title</a:t>
            </a:r>
            <a:endParaRPr lang="hu-HU"/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0953042C-FBEB-78FF-58A1-52566FDA0325}"/>
              </a:ext>
            </a:extLst>
          </p:cNvPr>
          <p:cNvSpPr/>
          <p:nvPr userDrawn="1"/>
        </p:nvSpPr>
        <p:spPr>
          <a:xfrm>
            <a:off x="819830" y="2686822"/>
            <a:ext cx="992188" cy="992188"/>
          </a:xfrm>
          <a:prstGeom prst="ellipse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noFill/>
              </a:ln>
              <a:solidFill>
                <a:schemeClr val="tx1"/>
              </a:solidFill>
            </a:endParaRP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B606C473-E83D-C209-86E0-6187C22C6892}"/>
              </a:ext>
            </a:extLst>
          </p:cNvPr>
          <p:cNvSpPr>
            <a:spLocks noGrp="1"/>
          </p:cNvSpPr>
          <p:nvPr>
            <p:ph type="body" sz="half" idx="14" hasCustomPrompt="1"/>
          </p:nvPr>
        </p:nvSpPr>
        <p:spPr>
          <a:xfrm>
            <a:off x="728025" y="2869236"/>
            <a:ext cx="1175798" cy="639595"/>
          </a:xfrm>
        </p:spPr>
        <p:txBody>
          <a:bodyPr anchor="ctr">
            <a:noAutofit/>
          </a:bodyPr>
          <a:lstStyle>
            <a:lvl1pPr marL="0" indent="0" algn="ctr">
              <a:buNone/>
              <a:defRPr sz="3600" cap="all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NR.</a:t>
            </a:r>
          </a:p>
        </p:txBody>
      </p:sp>
    </p:spTree>
    <p:extLst>
      <p:ext uri="{BB962C8B-B14F-4D97-AF65-F5344CB8AC3E}">
        <p14:creationId xmlns:p14="http://schemas.microsoft.com/office/powerpoint/2010/main" val="40104075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574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E5CE04-C121-2373-E7E4-45C22E1AEB4E}"/>
              </a:ext>
            </a:extLst>
          </p:cNvPr>
          <p:cNvSpPr txBox="1">
            <a:spLocks/>
          </p:cNvSpPr>
          <p:nvPr userDrawn="1"/>
        </p:nvSpPr>
        <p:spPr>
          <a:xfrm>
            <a:off x="810492" y="862770"/>
            <a:ext cx="10515600" cy="827918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80B4491-1EFD-8AE4-734D-F71920F573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" y="0"/>
            <a:ext cx="81153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CAB4C3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2D41AEC-0D4E-1EBB-14FF-34A3BCADD17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15300" y="0"/>
            <a:ext cx="4076699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CAB4C3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6" name="Picture Placeholder 16">
            <a:extLst>
              <a:ext uri="{FF2B5EF4-FFF2-40B4-BE49-F238E27FC236}">
                <a16:creationId xmlns:a16="http://schemas.microsoft.com/office/drawing/2014/main" id="{7A926941-2FF8-0130-FFCA-F2D164EA6F2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127830" y="0"/>
            <a:ext cx="4082983" cy="6858000"/>
          </a:xfrm>
        </p:spPr>
        <p:txBody>
          <a:bodyPr rtlCol="0"/>
          <a:lstStyle>
            <a:lvl1pPr marL="0" indent="0" algn="ctr">
              <a:buNone/>
              <a:defRPr/>
            </a:lvl1pPr>
          </a:lstStyle>
          <a:p>
            <a:pPr rtl="0"/>
            <a:r>
              <a:rPr lang="en-GB" noProof="0"/>
              <a:t>Click to add photo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12C97046-BEFA-4A11-2847-9FE0BD98C19E}"/>
              </a:ext>
            </a:extLst>
          </p:cNvPr>
          <p:cNvSpPr>
            <a:spLocks noGrp="1"/>
          </p:cNvSpPr>
          <p:nvPr>
            <p:ph type="body" sz="half" idx="14" hasCustomPrompt="1"/>
          </p:nvPr>
        </p:nvSpPr>
        <p:spPr>
          <a:xfrm>
            <a:off x="810493" y="5130744"/>
            <a:ext cx="6489210" cy="690868"/>
          </a:xfrm>
        </p:spPr>
        <p:txBody>
          <a:bodyPr anchor="b">
            <a:normAutofit/>
          </a:bodyPr>
          <a:lstStyle>
            <a:lvl1pPr marL="0" indent="0" algn="l">
              <a:buNone/>
              <a:defRPr sz="2400" cap="all" baseline="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NAME OF PRESENTER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4EF9F4A7-F9A7-A846-5470-6A34CA01DED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10492" y="534631"/>
            <a:ext cx="1789273" cy="363447"/>
          </a:xfrm>
          <a:prstGeom prst="rect">
            <a:avLst/>
          </a:prstGeom>
        </p:spPr>
      </p:pic>
      <p:sp>
        <p:nvSpPr>
          <p:cNvPr id="15" name="Title 1">
            <a:extLst>
              <a:ext uri="{FF2B5EF4-FFF2-40B4-BE49-F238E27FC236}">
                <a16:creationId xmlns:a16="http://schemas.microsoft.com/office/drawing/2014/main" id="{F4B6A8F7-6385-7502-172D-C185B27C5F5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0492" y="2079038"/>
            <a:ext cx="6489210" cy="1135236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/>
              <a:t>Click here to add your title</a:t>
            </a:r>
            <a:endParaRPr lang="hu-HU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C5A284E-CB8F-D1D8-F1D1-71BD61917F92}"/>
              </a:ext>
            </a:extLst>
          </p:cNvPr>
          <p:cNvSpPr/>
          <p:nvPr userDrawn="1"/>
        </p:nvSpPr>
        <p:spPr>
          <a:xfrm>
            <a:off x="893639" y="1945139"/>
            <a:ext cx="1284137" cy="13389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2411A59C-AF39-9B43-3EAF-C82D89611F6C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810490" y="3234806"/>
            <a:ext cx="6489211" cy="1136230"/>
          </a:xfrm>
        </p:spPr>
        <p:txBody>
          <a:bodyPr>
            <a:norm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add subtitle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46CB9639-6B6F-775F-2940-E6B762AAA1A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10491" y="6029646"/>
            <a:ext cx="6489210" cy="309966"/>
          </a:xfrm>
          <a:prstGeom prst="rect">
            <a:avLst/>
          </a:prstGeom>
        </p:spPr>
        <p:txBody>
          <a:bodyPr anchor="b"/>
          <a:lstStyle>
            <a:lvl1pPr algn="l">
              <a:defRPr sz="1600">
                <a:solidFill>
                  <a:schemeClr val="bg1"/>
                </a:solidFill>
              </a:defRPr>
            </a:lvl1pPr>
          </a:lstStyle>
          <a:p>
            <a:fld id="{E6E320F8-A717-0848-9F77-518345B9133F}" type="datetime3">
              <a:rPr lang="en-US" smtClean="0"/>
              <a:pPr/>
              <a:t>10 April 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92151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574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C99C2212-64E3-852A-036D-A7DA3872221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456154" y="377275"/>
            <a:ext cx="4518800" cy="4376361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7085DBEB-DDAB-24C9-D8CE-62E2C8883B7B}"/>
              </a:ext>
            </a:extLst>
          </p:cNvPr>
          <p:cNvSpPr txBox="1">
            <a:spLocks/>
          </p:cNvSpPr>
          <p:nvPr userDrawn="1"/>
        </p:nvSpPr>
        <p:spPr>
          <a:xfrm>
            <a:off x="893970" y="2214978"/>
            <a:ext cx="3643168" cy="700953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4000">
                <a:solidFill>
                  <a:schemeClr val="tx2"/>
                </a:solidFill>
              </a:rPr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209637642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C99C2212-64E3-852A-036D-A7DA3872221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456154" y="377275"/>
            <a:ext cx="4518800" cy="4376361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7085DBEB-DDAB-24C9-D8CE-62E2C8883B7B}"/>
              </a:ext>
            </a:extLst>
          </p:cNvPr>
          <p:cNvSpPr txBox="1">
            <a:spLocks/>
          </p:cNvSpPr>
          <p:nvPr userDrawn="1"/>
        </p:nvSpPr>
        <p:spPr>
          <a:xfrm>
            <a:off x="893970" y="2214978"/>
            <a:ext cx="3643168" cy="700953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4000">
                <a:solidFill>
                  <a:schemeClr val="tx2"/>
                </a:solidFill>
              </a:rPr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209637642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C99C2212-64E3-852A-036D-A7DA3872221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456154" y="377275"/>
            <a:ext cx="4518800" cy="4376361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7085DBEB-DDAB-24C9-D8CE-62E2C8883B7B}"/>
              </a:ext>
            </a:extLst>
          </p:cNvPr>
          <p:cNvSpPr txBox="1">
            <a:spLocks/>
          </p:cNvSpPr>
          <p:nvPr userDrawn="1"/>
        </p:nvSpPr>
        <p:spPr>
          <a:xfrm>
            <a:off x="893970" y="2214978"/>
            <a:ext cx="3643168" cy="700953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4000">
                <a:solidFill>
                  <a:schemeClr val="tx2"/>
                </a:solidFill>
              </a:rPr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209637642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C99C2212-64E3-852A-036D-A7DA3872221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456154" y="377275"/>
            <a:ext cx="4518800" cy="4376361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7085DBEB-DDAB-24C9-D8CE-62E2C8883B7B}"/>
              </a:ext>
            </a:extLst>
          </p:cNvPr>
          <p:cNvSpPr txBox="1">
            <a:spLocks/>
          </p:cNvSpPr>
          <p:nvPr userDrawn="1"/>
        </p:nvSpPr>
        <p:spPr>
          <a:xfrm>
            <a:off x="893970" y="2214978"/>
            <a:ext cx="3643168" cy="700953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4000">
                <a:solidFill>
                  <a:schemeClr val="tx2"/>
                </a:solidFill>
              </a:rPr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209637642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2845886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8379999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Gre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6339789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w/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Rectangle 55">
            <a:extLst>
              <a:ext uri="{FF2B5EF4-FFF2-40B4-BE49-F238E27FC236}">
                <a16:creationId xmlns:a16="http://schemas.microsoft.com/office/drawing/2014/main" id="{D49B0A9A-B93A-C22E-964C-34A015A9AB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"/>
            <a:ext cx="12192000" cy="3429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6E5CE04-C121-2373-E7E4-45C22E1AEB4E}"/>
              </a:ext>
            </a:extLst>
          </p:cNvPr>
          <p:cNvSpPr txBox="1">
            <a:spLocks/>
          </p:cNvSpPr>
          <p:nvPr userDrawn="1"/>
        </p:nvSpPr>
        <p:spPr>
          <a:xfrm>
            <a:off x="810492" y="862770"/>
            <a:ext cx="10515600" cy="827918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/>
          </a:p>
        </p:txBody>
      </p:sp>
      <p:sp>
        <p:nvSpPr>
          <p:cNvPr id="8" name="Title Placeholder 7">
            <a:extLst>
              <a:ext uri="{FF2B5EF4-FFF2-40B4-BE49-F238E27FC236}">
                <a16:creationId xmlns:a16="http://schemas.microsoft.com/office/drawing/2014/main" id="{32F99EC6-1962-DADA-D52B-CCC28ECE83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862771"/>
            <a:ext cx="10515600" cy="64445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here to add your title</a:t>
            </a:r>
            <a:endParaRPr lang="hu-HU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184D420-0D5D-3D50-05EE-C913B7865A84}"/>
              </a:ext>
            </a:extLst>
          </p:cNvPr>
          <p:cNvSpPr/>
          <p:nvPr userDrawn="1"/>
        </p:nvSpPr>
        <p:spPr>
          <a:xfrm>
            <a:off x="913448" y="728871"/>
            <a:ext cx="1284137" cy="13389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C000"/>
              </a:solidFill>
            </a:endParaRPr>
          </a:p>
        </p:txBody>
      </p:sp>
      <p:sp>
        <p:nvSpPr>
          <p:cNvPr id="4" name="Picture Placeholder 27">
            <a:extLst>
              <a:ext uri="{FF2B5EF4-FFF2-40B4-BE49-F238E27FC236}">
                <a16:creationId xmlns:a16="http://schemas.microsoft.com/office/drawing/2014/main" id="{E9C29263-604D-2D36-FE35-5A859CB82B9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314200" y="2648572"/>
            <a:ext cx="1560858" cy="1560856"/>
          </a:xfrm>
          <a:custGeom>
            <a:avLst/>
            <a:gdLst>
              <a:gd name="connsiteX0" fmla="*/ 1877652 w 3755304"/>
              <a:gd name="connsiteY0" fmla="*/ 0 h 3755300"/>
              <a:gd name="connsiteX1" fmla="*/ 3755304 w 3755304"/>
              <a:gd name="connsiteY1" fmla="*/ 1877650 h 3755300"/>
              <a:gd name="connsiteX2" fmla="*/ 1877652 w 3755304"/>
              <a:gd name="connsiteY2" fmla="*/ 3755300 h 3755300"/>
              <a:gd name="connsiteX3" fmla="*/ 0 w 3755304"/>
              <a:gd name="connsiteY3" fmla="*/ 1877650 h 3755300"/>
              <a:gd name="connsiteX4" fmla="*/ 1877652 w 3755304"/>
              <a:gd name="connsiteY4" fmla="*/ 0 h 375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55304" h="3755300">
                <a:moveTo>
                  <a:pt x="1877652" y="0"/>
                </a:moveTo>
                <a:cubicBezTo>
                  <a:pt x="2914651" y="0"/>
                  <a:pt x="3755304" y="840653"/>
                  <a:pt x="3755304" y="1877650"/>
                </a:cubicBezTo>
                <a:cubicBezTo>
                  <a:pt x="3755304" y="2914647"/>
                  <a:pt x="2914651" y="3755300"/>
                  <a:pt x="1877652" y="3755300"/>
                </a:cubicBezTo>
                <a:cubicBezTo>
                  <a:pt x="840653" y="3755300"/>
                  <a:pt x="0" y="2914647"/>
                  <a:pt x="0" y="1877650"/>
                </a:cubicBezTo>
                <a:cubicBezTo>
                  <a:pt x="0" y="840653"/>
                  <a:pt x="840653" y="0"/>
                  <a:pt x="1877652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  <a:p>
            <a:r>
              <a:rPr lang="en-US"/>
              <a:t>Add icon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63EB95E4-32F7-F1AD-3543-8BA7E8D032D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965927" y="4409572"/>
            <a:ext cx="2257404" cy="35922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1800" b="0" cap="none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Add title</a:t>
            </a:r>
          </a:p>
        </p:txBody>
      </p:sp>
      <p:sp>
        <p:nvSpPr>
          <p:cNvPr id="10" name="Picture Placeholder 27">
            <a:extLst>
              <a:ext uri="{FF2B5EF4-FFF2-40B4-BE49-F238E27FC236}">
                <a16:creationId xmlns:a16="http://schemas.microsoft.com/office/drawing/2014/main" id="{83B40E9F-DE8B-BE44-FED4-16C5F77F3FF0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3973830" y="2648572"/>
            <a:ext cx="1560858" cy="1560856"/>
          </a:xfrm>
          <a:custGeom>
            <a:avLst/>
            <a:gdLst>
              <a:gd name="connsiteX0" fmla="*/ 1877652 w 3755304"/>
              <a:gd name="connsiteY0" fmla="*/ 0 h 3755300"/>
              <a:gd name="connsiteX1" fmla="*/ 3755304 w 3755304"/>
              <a:gd name="connsiteY1" fmla="*/ 1877650 h 3755300"/>
              <a:gd name="connsiteX2" fmla="*/ 1877652 w 3755304"/>
              <a:gd name="connsiteY2" fmla="*/ 3755300 h 3755300"/>
              <a:gd name="connsiteX3" fmla="*/ 0 w 3755304"/>
              <a:gd name="connsiteY3" fmla="*/ 1877650 h 3755300"/>
              <a:gd name="connsiteX4" fmla="*/ 1877652 w 3755304"/>
              <a:gd name="connsiteY4" fmla="*/ 0 h 375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55304" h="3755300">
                <a:moveTo>
                  <a:pt x="1877652" y="0"/>
                </a:moveTo>
                <a:cubicBezTo>
                  <a:pt x="2914651" y="0"/>
                  <a:pt x="3755304" y="840653"/>
                  <a:pt x="3755304" y="1877650"/>
                </a:cubicBezTo>
                <a:cubicBezTo>
                  <a:pt x="3755304" y="2914647"/>
                  <a:pt x="2914651" y="3755300"/>
                  <a:pt x="1877652" y="3755300"/>
                </a:cubicBezTo>
                <a:cubicBezTo>
                  <a:pt x="840653" y="3755300"/>
                  <a:pt x="0" y="2914647"/>
                  <a:pt x="0" y="1877650"/>
                </a:cubicBezTo>
                <a:cubicBezTo>
                  <a:pt x="0" y="840653"/>
                  <a:pt x="840653" y="0"/>
                  <a:pt x="1877652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  <a:p>
            <a:r>
              <a:rPr lang="en-US"/>
              <a:t>Add icon</a:t>
            </a:r>
          </a:p>
        </p:txBody>
      </p:sp>
      <p:sp>
        <p:nvSpPr>
          <p:cNvPr id="14" name="Picture Placeholder 27">
            <a:extLst>
              <a:ext uri="{FF2B5EF4-FFF2-40B4-BE49-F238E27FC236}">
                <a16:creationId xmlns:a16="http://schemas.microsoft.com/office/drawing/2014/main" id="{B016A6E1-B877-ED40-C5F1-2E1EB0D0229E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6633460" y="2648572"/>
            <a:ext cx="1560858" cy="1560856"/>
          </a:xfrm>
          <a:custGeom>
            <a:avLst/>
            <a:gdLst>
              <a:gd name="connsiteX0" fmla="*/ 1877652 w 3755304"/>
              <a:gd name="connsiteY0" fmla="*/ 0 h 3755300"/>
              <a:gd name="connsiteX1" fmla="*/ 3755304 w 3755304"/>
              <a:gd name="connsiteY1" fmla="*/ 1877650 h 3755300"/>
              <a:gd name="connsiteX2" fmla="*/ 1877652 w 3755304"/>
              <a:gd name="connsiteY2" fmla="*/ 3755300 h 3755300"/>
              <a:gd name="connsiteX3" fmla="*/ 0 w 3755304"/>
              <a:gd name="connsiteY3" fmla="*/ 1877650 h 3755300"/>
              <a:gd name="connsiteX4" fmla="*/ 1877652 w 3755304"/>
              <a:gd name="connsiteY4" fmla="*/ 0 h 375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55304" h="3755300">
                <a:moveTo>
                  <a:pt x="1877652" y="0"/>
                </a:moveTo>
                <a:cubicBezTo>
                  <a:pt x="2914651" y="0"/>
                  <a:pt x="3755304" y="840653"/>
                  <a:pt x="3755304" y="1877650"/>
                </a:cubicBezTo>
                <a:cubicBezTo>
                  <a:pt x="3755304" y="2914647"/>
                  <a:pt x="2914651" y="3755300"/>
                  <a:pt x="1877652" y="3755300"/>
                </a:cubicBezTo>
                <a:cubicBezTo>
                  <a:pt x="840653" y="3755300"/>
                  <a:pt x="0" y="2914647"/>
                  <a:pt x="0" y="1877650"/>
                </a:cubicBezTo>
                <a:cubicBezTo>
                  <a:pt x="0" y="840653"/>
                  <a:pt x="840653" y="0"/>
                  <a:pt x="1877652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  <a:p>
            <a:r>
              <a:rPr lang="en-US"/>
              <a:t>Add icon</a:t>
            </a:r>
          </a:p>
        </p:txBody>
      </p:sp>
      <p:sp>
        <p:nvSpPr>
          <p:cNvPr id="18" name="Picture Placeholder 27">
            <a:extLst>
              <a:ext uri="{FF2B5EF4-FFF2-40B4-BE49-F238E27FC236}">
                <a16:creationId xmlns:a16="http://schemas.microsoft.com/office/drawing/2014/main" id="{307800ED-F777-CF5B-1133-70ADA64B3304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9293090" y="2648572"/>
            <a:ext cx="1560858" cy="1560856"/>
          </a:xfrm>
          <a:custGeom>
            <a:avLst/>
            <a:gdLst>
              <a:gd name="connsiteX0" fmla="*/ 1877652 w 3755304"/>
              <a:gd name="connsiteY0" fmla="*/ 0 h 3755300"/>
              <a:gd name="connsiteX1" fmla="*/ 3755304 w 3755304"/>
              <a:gd name="connsiteY1" fmla="*/ 1877650 h 3755300"/>
              <a:gd name="connsiteX2" fmla="*/ 1877652 w 3755304"/>
              <a:gd name="connsiteY2" fmla="*/ 3755300 h 3755300"/>
              <a:gd name="connsiteX3" fmla="*/ 0 w 3755304"/>
              <a:gd name="connsiteY3" fmla="*/ 1877650 h 3755300"/>
              <a:gd name="connsiteX4" fmla="*/ 1877652 w 3755304"/>
              <a:gd name="connsiteY4" fmla="*/ 0 h 375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55304" h="3755300">
                <a:moveTo>
                  <a:pt x="1877652" y="0"/>
                </a:moveTo>
                <a:cubicBezTo>
                  <a:pt x="2914651" y="0"/>
                  <a:pt x="3755304" y="840653"/>
                  <a:pt x="3755304" y="1877650"/>
                </a:cubicBezTo>
                <a:cubicBezTo>
                  <a:pt x="3755304" y="2914647"/>
                  <a:pt x="2914651" y="3755300"/>
                  <a:pt x="1877652" y="3755300"/>
                </a:cubicBezTo>
                <a:cubicBezTo>
                  <a:pt x="840653" y="3755300"/>
                  <a:pt x="0" y="2914647"/>
                  <a:pt x="0" y="1877650"/>
                </a:cubicBezTo>
                <a:cubicBezTo>
                  <a:pt x="0" y="840653"/>
                  <a:pt x="840653" y="0"/>
                  <a:pt x="1877652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  <a:p>
            <a:r>
              <a:rPr lang="en-US"/>
              <a:t>Add ic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3B4A26C-A50C-6B4B-4112-A9C00BC55469}"/>
              </a:ext>
            </a:extLst>
          </p:cNvPr>
          <p:cNvSpPr/>
          <p:nvPr userDrawn="1"/>
        </p:nvSpPr>
        <p:spPr>
          <a:xfrm>
            <a:off x="0" y="6498771"/>
            <a:ext cx="12192000" cy="359229"/>
          </a:xfrm>
          <a:prstGeom prst="rect">
            <a:avLst/>
          </a:prstGeom>
          <a:solidFill>
            <a:schemeClr val="tx1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Google Shape;519;p16">
            <a:extLst>
              <a:ext uri="{FF2B5EF4-FFF2-40B4-BE49-F238E27FC236}">
                <a16:creationId xmlns:a16="http://schemas.microsoft.com/office/drawing/2014/main" id="{EFD02F8E-590F-6907-3DBE-DA04F82FAB61}"/>
              </a:ext>
            </a:extLst>
          </p:cNvPr>
          <p:cNvSpPr/>
          <p:nvPr userDrawn="1"/>
        </p:nvSpPr>
        <p:spPr>
          <a:xfrm>
            <a:off x="11431039" y="6226058"/>
            <a:ext cx="547419" cy="545425"/>
          </a:xfrm>
          <a:prstGeom prst="ellipse">
            <a:avLst/>
          </a:prstGeom>
          <a:solidFill>
            <a:schemeClr val="tx2"/>
          </a:solidFill>
          <a:ln>
            <a:noFill/>
          </a:ln>
          <a:effectLst>
            <a:outerShdw blurRad="50800" dist="38100" dir="8100000" algn="tr" rotWithShape="0">
              <a:prstClr val="black">
                <a:alpha val="10348"/>
              </a:prst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" name="Google Shape;423;p13">
            <a:extLst>
              <a:ext uri="{FF2B5EF4-FFF2-40B4-BE49-F238E27FC236}">
                <a16:creationId xmlns:a16="http://schemas.microsoft.com/office/drawing/2014/main" id="{D39BDF0D-D0CE-E387-05BC-090D7A7CF454}"/>
              </a:ext>
            </a:extLst>
          </p:cNvPr>
          <p:cNvSpPr txBox="1"/>
          <p:nvPr userDrawn="1"/>
        </p:nvSpPr>
        <p:spPr>
          <a:xfrm>
            <a:off x="11507512" y="6364038"/>
            <a:ext cx="394471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fld id="{EAB91DC4-3975-794F-B8BB-6E50AC3E5273}" type="slidenum">
              <a:rPr lang="en-US" sz="1200" smtClean="0">
                <a:latin typeface="Montserrat Light" pitchFamily="2" charset="77"/>
                <a:ea typeface="Roboto Condensed"/>
                <a:cs typeface="Roboto Condensed"/>
                <a:sym typeface="Roboto Condensed"/>
              </a:rPr>
              <a:t>‹#›</a:t>
            </a:fld>
            <a:endParaRPr sz="1200">
              <a:latin typeface="Montserrat Light" pitchFamily="2" charset="77"/>
            </a:endParaRP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6DA1E31E-2525-4264-627E-91CD2CD94C6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0017" y="6594232"/>
            <a:ext cx="828582" cy="168306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E19B0E3-513C-F620-7A12-ECC964E90248}"/>
              </a:ext>
            </a:extLst>
          </p:cNvPr>
          <p:cNvSpPr>
            <a:spLocks noGrp="1"/>
          </p:cNvSpPr>
          <p:nvPr>
            <p:ph type="body" idx="41" hasCustomPrompt="1"/>
          </p:nvPr>
        </p:nvSpPr>
        <p:spPr>
          <a:xfrm>
            <a:off x="3625557" y="4409571"/>
            <a:ext cx="2257404" cy="35922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1800" b="0" cap="none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Add title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39E2D8F2-361D-4B02-713B-9B7E01F2694F}"/>
              </a:ext>
            </a:extLst>
          </p:cNvPr>
          <p:cNvSpPr>
            <a:spLocks noGrp="1"/>
          </p:cNvSpPr>
          <p:nvPr>
            <p:ph type="body" idx="42" hasCustomPrompt="1"/>
          </p:nvPr>
        </p:nvSpPr>
        <p:spPr>
          <a:xfrm>
            <a:off x="6285187" y="4414558"/>
            <a:ext cx="2257404" cy="35922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1800" b="0" cap="none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Add title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C867B756-DE04-A244-D7B0-B0FBC684127A}"/>
              </a:ext>
            </a:extLst>
          </p:cNvPr>
          <p:cNvSpPr>
            <a:spLocks noGrp="1"/>
          </p:cNvSpPr>
          <p:nvPr>
            <p:ph type="body" idx="43" hasCustomPrompt="1"/>
          </p:nvPr>
        </p:nvSpPr>
        <p:spPr>
          <a:xfrm>
            <a:off x="8944817" y="4409572"/>
            <a:ext cx="2257404" cy="35922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1800" b="0" cap="none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Add title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BCDE6ED9-A147-D5E4-5AA1-284E43903E76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965927" y="4828784"/>
            <a:ext cx="2257404" cy="1397274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1400" b="0" cap="none" baseline="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40A9D653-F13A-9CA9-8033-6F206B3CE87E}"/>
              </a:ext>
            </a:extLst>
          </p:cNvPr>
          <p:cNvSpPr>
            <a:spLocks noGrp="1"/>
          </p:cNvSpPr>
          <p:nvPr>
            <p:ph type="body" idx="44" hasCustomPrompt="1"/>
          </p:nvPr>
        </p:nvSpPr>
        <p:spPr>
          <a:xfrm>
            <a:off x="3622913" y="4828784"/>
            <a:ext cx="2257404" cy="1397274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1400" b="0" cap="none" baseline="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322A9FFF-2808-E0EF-39C9-519B91E6EFFE}"/>
              </a:ext>
            </a:extLst>
          </p:cNvPr>
          <p:cNvSpPr>
            <a:spLocks noGrp="1"/>
          </p:cNvSpPr>
          <p:nvPr>
            <p:ph type="body" idx="45" hasCustomPrompt="1"/>
          </p:nvPr>
        </p:nvSpPr>
        <p:spPr>
          <a:xfrm>
            <a:off x="6286206" y="4828784"/>
            <a:ext cx="2257404" cy="1397274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1400" b="0" cap="none" baseline="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4A19EA07-69C9-DFAD-2349-75908FF29B4F}"/>
              </a:ext>
            </a:extLst>
          </p:cNvPr>
          <p:cNvSpPr>
            <a:spLocks noGrp="1"/>
          </p:cNvSpPr>
          <p:nvPr>
            <p:ph type="body" idx="46" hasCustomPrompt="1"/>
          </p:nvPr>
        </p:nvSpPr>
        <p:spPr>
          <a:xfrm>
            <a:off x="8944817" y="4828784"/>
            <a:ext cx="2257404" cy="1397274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1400" b="0" cap="none" baseline="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8995455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597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w/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Rectangle 55">
            <a:extLst>
              <a:ext uri="{FF2B5EF4-FFF2-40B4-BE49-F238E27FC236}">
                <a16:creationId xmlns:a16="http://schemas.microsoft.com/office/drawing/2014/main" id="{D49B0A9A-B93A-C22E-964C-34A015A9AB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"/>
            <a:ext cx="12192000" cy="3429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6E5CE04-C121-2373-E7E4-45C22E1AEB4E}"/>
              </a:ext>
            </a:extLst>
          </p:cNvPr>
          <p:cNvSpPr txBox="1">
            <a:spLocks/>
          </p:cNvSpPr>
          <p:nvPr userDrawn="1"/>
        </p:nvSpPr>
        <p:spPr>
          <a:xfrm>
            <a:off x="810492" y="862770"/>
            <a:ext cx="10515600" cy="827918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/>
          </a:p>
        </p:txBody>
      </p:sp>
      <p:sp>
        <p:nvSpPr>
          <p:cNvPr id="8" name="Title Placeholder 7">
            <a:extLst>
              <a:ext uri="{FF2B5EF4-FFF2-40B4-BE49-F238E27FC236}">
                <a16:creationId xmlns:a16="http://schemas.microsoft.com/office/drawing/2014/main" id="{32F99EC6-1962-DADA-D52B-CCC28ECE83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862771"/>
            <a:ext cx="10515600" cy="64445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here to add your title</a:t>
            </a:r>
            <a:endParaRPr lang="hu-HU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184D420-0D5D-3D50-05EE-C913B7865A84}"/>
              </a:ext>
            </a:extLst>
          </p:cNvPr>
          <p:cNvSpPr/>
          <p:nvPr userDrawn="1"/>
        </p:nvSpPr>
        <p:spPr>
          <a:xfrm>
            <a:off x="913448" y="728871"/>
            <a:ext cx="1284137" cy="13389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C000"/>
              </a:solidFill>
            </a:endParaRPr>
          </a:p>
        </p:txBody>
      </p:sp>
      <p:sp>
        <p:nvSpPr>
          <p:cNvPr id="4" name="Picture Placeholder 27">
            <a:extLst>
              <a:ext uri="{FF2B5EF4-FFF2-40B4-BE49-F238E27FC236}">
                <a16:creationId xmlns:a16="http://schemas.microsoft.com/office/drawing/2014/main" id="{E9C29263-604D-2D36-FE35-5A859CB82B9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314200" y="2648572"/>
            <a:ext cx="1560858" cy="1560856"/>
          </a:xfrm>
          <a:custGeom>
            <a:avLst/>
            <a:gdLst>
              <a:gd name="connsiteX0" fmla="*/ 1877652 w 3755304"/>
              <a:gd name="connsiteY0" fmla="*/ 0 h 3755300"/>
              <a:gd name="connsiteX1" fmla="*/ 3755304 w 3755304"/>
              <a:gd name="connsiteY1" fmla="*/ 1877650 h 3755300"/>
              <a:gd name="connsiteX2" fmla="*/ 1877652 w 3755304"/>
              <a:gd name="connsiteY2" fmla="*/ 3755300 h 3755300"/>
              <a:gd name="connsiteX3" fmla="*/ 0 w 3755304"/>
              <a:gd name="connsiteY3" fmla="*/ 1877650 h 3755300"/>
              <a:gd name="connsiteX4" fmla="*/ 1877652 w 3755304"/>
              <a:gd name="connsiteY4" fmla="*/ 0 h 375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55304" h="3755300">
                <a:moveTo>
                  <a:pt x="1877652" y="0"/>
                </a:moveTo>
                <a:cubicBezTo>
                  <a:pt x="2914651" y="0"/>
                  <a:pt x="3755304" y="840653"/>
                  <a:pt x="3755304" y="1877650"/>
                </a:cubicBezTo>
                <a:cubicBezTo>
                  <a:pt x="3755304" y="2914647"/>
                  <a:pt x="2914651" y="3755300"/>
                  <a:pt x="1877652" y="3755300"/>
                </a:cubicBezTo>
                <a:cubicBezTo>
                  <a:pt x="840653" y="3755300"/>
                  <a:pt x="0" y="2914647"/>
                  <a:pt x="0" y="1877650"/>
                </a:cubicBezTo>
                <a:cubicBezTo>
                  <a:pt x="0" y="840653"/>
                  <a:pt x="840653" y="0"/>
                  <a:pt x="1877652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  <a:p>
            <a:r>
              <a:rPr lang="en-US"/>
              <a:t>Add icon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63EB95E4-32F7-F1AD-3543-8BA7E8D032D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965927" y="4409572"/>
            <a:ext cx="2257404" cy="35922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1800" b="0" cap="none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Add title</a:t>
            </a:r>
          </a:p>
        </p:txBody>
      </p:sp>
      <p:sp>
        <p:nvSpPr>
          <p:cNvPr id="10" name="Picture Placeholder 27">
            <a:extLst>
              <a:ext uri="{FF2B5EF4-FFF2-40B4-BE49-F238E27FC236}">
                <a16:creationId xmlns:a16="http://schemas.microsoft.com/office/drawing/2014/main" id="{83B40E9F-DE8B-BE44-FED4-16C5F77F3FF0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3973830" y="2648572"/>
            <a:ext cx="1560858" cy="1560856"/>
          </a:xfrm>
          <a:custGeom>
            <a:avLst/>
            <a:gdLst>
              <a:gd name="connsiteX0" fmla="*/ 1877652 w 3755304"/>
              <a:gd name="connsiteY0" fmla="*/ 0 h 3755300"/>
              <a:gd name="connsiteX1" fmla="*/ 3755304 w 3755304"/>
              <a:gd name="connsiteY1" fmla="*/ 1877650 h 3755300"/>
              <a:gd name="connsiteX2" fmla="*/ 1877652 w 3755304"/>
              <a:gd name="connsiteY2" fmla="*/ 3755300 h 3755300"/>
              <a:gd name="connsiteX3" fmla="*/ 0 w 3755304"/>
              <a:gd name="connsiteY3" fmla="*/ 1877650 h 3755300"/>
              <a:gd name="connsiteX4" fmla="*/ 1877652 w 3755304"/>
              <a:gd name="connsiteY4" fmla="*/ 0 h 375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55304" h="3755300">
                <a:moveTo>
                  <a:pt x="1877652" y="0"/>
                </a:moveTo>
                <a:cubicBezTo>
                  <a:pt x="2914651" y="0"/>
                  <a:pt x="3755304" y="840653"/>
                  <a:pt x="3755304" y="1877650"/>
                </a:cubicBezTo>
                <a:cubicBezTo>
                  <a:pt x="3755304" y="2914647"/>
                  <a:pt x="2914651" y="3755300"/>
                  <a:pt x="1877652" y="3755300"/>
                </a:cubicBezTo>
                <a:cubicBezTo>
                  <a:pt x="840653" y="3755300"/>
                  <a:pt x="0" y="2914647"/>
                  <a:pt x="0" y="1877650"/>
                </a:cubicBezTo>
                <a:cubicBezTo>
                  <a:pt x="0" y="840653"/>
                  <a:pt x="840653" y="0"/>
                  <a:pt x="1877652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  <a:p>
            <a:r>
              <a:rPr lang="en-US"/>
              <a:t>Add icon</a:t>
            </a:r>
          </a:p>
        </p:txBody>
      </p:sp>
      <p:sp>
        <p:nvSpPr>
          <p:cNvPr id="14" name="Picture Placeholder 27">
            <a:extLst>
              <a:ext uri="{FF2B5EF4-FFF2-40B4-BE49-F238E27FC236}">
                <a16:creationId xmlns:a16="http://schemas.microsoft.com/office/drawing/2014/main" id="{B016A6E1-B877-ED40-C5F1-2E1EB0D0229E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6633460" y="2648572"/>
            <a:ext cx="1560858" cy="1560856"/>
          </a:xfrm>
          <a:custGeom>
            <a:avLst/>
            <a:gdLst>
              <a:gd name="connsiteX0" fmla="*/ 1877652 w 3755304"/>
              <a:gd name="connsiteY0" fmla="*/ 0 h 3755300"/>
              <a:gd name="connsiteX1" fmla="*/ 3755304 w 3755304"/>
              <a:gd name="connsiteY1" fmla="*/ 1877650 h 3755300"/>
              <a:gd name="connsiteX2" fmla="*/ 1877652 w 3755304"/>
              <a:gd name="connsiteY2" fmla="*/ 3755300 h 3755300"/>
              <a:gd name="connsiteX3" fmla="*/ 0 w 3755304"/>
              <a:gd name="connsiteY3" fmla="*/ 1877650 h 3755300"/>
              <a:gd name="connsiteX4" fmla="*/ 1877652 w 3755304"/>
              <a:gd name="connsiteY4" fmla="*/ 0 h 375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55304" h="3755300">
                <a:moveTo>
                  <a:pt x="1877652" y="0"/>
                </a:moveTo>
                <a:cubicBezTo>
                  <a:pt x="2914651" y="0"/>
                  <a:pt x="3755304" y="840653"/>
                  <a:pt x="3755304" y="1877650"/>
                </a:cubicBezTo>
                <a:cubicBezTo>
                  <a:pt x="3755304" y="2914647"/>
                  <a:pt x="2914651" y="3755300"/>
                  <a:pt x="1877652" y="3755300"/>
                </a:cubicBezTo>
                <a:cubicBezTo>
                  <a:pt x="840653" y="3755300"/>
                  <a:pt x="0" y="2914647"/>
                  <a:pt x="0" y="1877650"/>
                </a:cubicBezTo>
                <a:cubicBezTo>
                  <a:pt x="0" y="840653"/>
                  <a:pt x="840653" y="0"/>
                  <a:pt x="1877652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  <a:p>
            <a:r>
              <a:rPr lang="en-US"/>
              <a:t>Add icon</a:t>
            </a:r>
          </a:p>
        </p:txBody>
      </p:sp>
      <p:sp>
        <p:nvSpPr>
          <p:cNvPr id="18" name="Picture Placeholder 27">
            <a:extLst>
              <a:ext uri="{FF2B5EF4-FFF2-40B4-BE49-F238E27FC236}">
                <a16:creationId xmlns:a16="http://schemas.microsoft.com/office/drawing/2014/main" id="{307800ED-F777-CF5B-1133-70ADA64B3304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9293090" y="2648572"/>
            <a:ext cx="1560858" cy="1560856"/>
          </a:xfrm>
          <a:custGeom>
            <a:avLst/>
            <a:gdLst>
              <a:gd name="connsiteX0" fmla="*/ 1877652 w 3755304"/>
              <a:gd name="connsiteY0" fmla="*/ 0 h 3755300"/>
              <a:gd name="connsiteX1" fmla="*/ 3755304 w 3755304"/>
              <a:gd name="connsiteY1" fmla="*/ 1877650 h 3755300"/>
              <a:gd name="connsiteX2" fmla="*/ 1877652 w 3755304"/>
              <a:gd name="connsiteY2" fmla="*/ 3755300 h 3755300"/>
              <a:gd name="connsiteX3" fmla="*/ 0 w 3755304"/>
              <a:gd name="connsiteY3" fmla="*/ 1877650 h 3755300"/>
              <a:gd name="connsiteX4" fmla="*/ 1877652 w 3755304"/>
              <a:gd name="connsiteY4" fmla="*/ 0 h 375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55304" h="3755300">
                <a:moveTo>
                  <a:pt x="1877652" y="0"/>
                </a:moveTo>
                <a:cubicBezTo>
                  <a:pt x="2914651" y="0"/>
                  <a:pt x="3755304" y="840653"/>
                  <a:pt x="3755304" y="1877650"/>
                </a:cubicBezTo>
                <a:cubicBezTo>
                  <a:pt x="3755304" y="2914647"/>
                  <a:pt x="2914651" y="3755300"/>
                  <a:pt x="1877652" y="3755300"/>
                </a:cubicBezTo>
                <a:cubicBezTo>
                  <a:pt x="840653" y="3755300"/>
                  <a:pt x="0" y="2914647"/>
                  <a:pt x="0" y="1877650"/>
                </a:cubicBezTo>
                <a:cubicBezTo>
                  <a:pt x="0" y="840653"/>
                  <a:pt x="840653" y="0"/>
                  <a:pt x="1877652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  <a:p>
            <a:r>
              <a:rPr lang="en-US"/>
              <a:t>Add ic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3B4A26C-A50C-6B4B-4112-A9C00BC55469}"/>
              </a:ext>
            </a:extLst>
          </p:cNvPr>
          <p:cNvSpPr/>
          <p:nvPr userDrawn="1"/>
        </p:nvSpPr>
        <p:spPr>
          <a:xfrm>
            <a:off x="0" y="6498771"/>
            <a:ext cx="12192000" cy="359229"/>
          </a:xfrm>
          <a:prstGeom prst="rect">
            <a:avLst/>
          </a:prstGeom>
          <a:solidFill>
            <a:schemeClr val="tx1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Google Shape;519;p16">
            <a:extLst>
              <a:ext uri="{FF2B5EF4-FFF2-40B4-BE49-F238E27FC236}">
                <a16:creationId xmlns:a16="http://schemas.microsoft.com/office/drawing/2014/main" id="{EFD02F8E-590F-6907-3DBE-DA04F82FAB61}"/>
              </a:ext>
            </a:extLst>
          </p:cNvPr>
          <p:cNvSpPr/>
          <p:nvPr userDrawn="1"/>
        </p:nvSpPr>
        <p:spPr>
          <a:xfrm>
            <a:off x="11431039" y="6226058"/>
            <a:ext cx="547419" cy="545425"/>
          </a:xfrm>
          <a:prstGeom prst="ellipse">
            <a:avLst/>
          </a:prstGeom>
          <a:solidFill>
            <a:schemeClr val="tx2"/>
          </a:solidFill>
          <a:ln>
            <a:noFill/>
          </a:ln>
          <a:effectLst>
            <a:outerShdw blurRad="50800" dist="38100" dir="8100000" algn="tr" rotWithShape="0">
              <a:prstClr val="black">
                <a:alpha val="10348"/>
              </a:prst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" name="Google Shape;423;p13">
            <a:extLst>
              <a:ext uri="{FF2B5EF4-FFF2-40B4-BE49-F238E27FC236}">
                <a16:creationId xmlns:a16="http://schemas.microsoft.com/office/drawing/2014/main" id="{D39BDF0D-D0CE-E387-05BC-090D7A7CF454}"/>
              </a:ext>
            </a:extLst>
          </p:cNvPr>
          <p:cNvSpPr txBox="1"/>
          <p:nvPr userDrawn="1"/>
        </p:nvSpPr>
        <p:spPr>
          <a:xfrm>
            <a:off x="11507512" y="6364038"/>
            <a:ext cx="394471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fld id="{EAB91DC4-3975-794F-B8BB-6E50AC3E5273}" type="slidenum">
              <a:rPr lang="en-US" sz="1200" smtClean="0">
                <a:latin typeface="Montserrat Light" pitchFamily="2" charset="77"/>
                <a:ea typeface="Roboto Condensed"/>
                <a:cs typeface="Roboto Condensed"/>
                <a:sym typeface="Roboto Condensed"/>
              </a:rPr>
              <a:t>‹#›</a:t>
            </a:fld>
            <a:endParaRPr sz="1200">
              <a:latin typeface="Montserrat Light" pitchFamily="2" charset="77"/>
            </a:endParaRP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6DA1E31E-2525-4264-627E-91CD2CD94C6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0017" y="6594232"/>
            <a:ext cx="828582" cy="168306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E19B0E3-513C-F620-7A12-ECC964E90248}"/>
              </a:ext>
            </a:extLst>
          </p:cNvPr>
          <p:cNvSpPr>
            <a:spLocks noGrp="1"/>
          </p:cNvSpPr>
          <p:nvPr>
            <p:ph type="body" idx="41" hasCustomPrompt="1"/>
          </p:nvPr>
        </p:nvSpPr>
        <p:spPr>
          <a:xfrm>
            <a:off x="3625557" y="4409571"/>
            <a:ext cx="2257404" cy="35922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1800" b="0" cap="none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Add title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39E2D8F2-361D-4B02-713B-9B7E01F2694F}"/>
              </a:ext>
            </a:extLst>
          </p:cNvPr>
          <p:cNvSpPr>
            <a:spLocks noGrp="1"/>
          </p:cNvSpPr>
          <p:nvPr>
            <p:ph type="body" idx="42" hasCustomPrompt="1"/>
          </p:nvPr>
        </p:nvSpPr>
        <p:spPr>
          <a:xfrm>
            <a:off x="6285187" y="4414558"/>
            <a:ext cx="2257404" cy="35922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1800" b="0" cap="none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Add title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C867B756-DE04-A244-D7B0-B0FBC684127A}"/>
              </a:ext>
            </a:extLst>
          </p:cNvPr>
          <p:cNvSpPr>
            <a:spLocks noGrp="1"/>
          </p:cNvSpPr>
          <p:nvPr>
            <p:ph type="body" idx="43" hasCustomPrompt="1"/>
          </p:nvPr>
        </p:nvSpPr>
        <p:spPr>
          <a:xfrm>
            <a:off x="8944817" y="4409572"/>
            <a:ext cx="2257404" cy="35922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1800" b="0" cap="none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Add title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BCDE6ED9-A147-D5E4-5AA1-284E43903E76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965927" y="4828784"/>
            <a:ext cx="2257404" cy="1397274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1400" b="0" cap="none" baseline="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40A9D653-F13A-9CA9-8033-6F206B3CE87E}"/>
              </a:ext>
            </a:extLst>
          </p:cNvPr>
          <p:cNvSpPr>
            <a:spLocks noGrp="1"/>
          </p:cNvSpPr>
          <p:nvPr>
            <p:ph type="body" idx="44" hasCustomPrompt="1"/>
          </p:nvPr>
        </p:nvSpPr>
        <p:spPr>
          <a:xfrm>
            <a:off x="3622913" y="4828784"/>
            <a:ext cx="2257404" cy="1397274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1400" b="0" cap="none" baseline="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322A9FFF-2808-E0EF-39C9-519B91E6EFFE}"/>
              </a:ext>
            </a:extLst>
          </p:cNvPr>
          <p:cNvSpPr>
            <a:spLocks noGrp="1"/>
          </p:cNvSpPr>
          <p:nvPr>
            <p:ph type="body" idx="45" hasCustomPrompt="1"/>
          </p:nvPr>
        </p:nvSpPr>
        <p:spPr>
          <a:xfrm>
            <a:off x="6286206" y="4828784"/>
            <a:ext cx="2257404" cy="1397274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1400" b="0" cap="none" baseline="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4A19EA07-69C9-DFAD-2349-75908FF29B4F}"/>
              </a:ext>
            </a:extLst>
          </p:cNvPr>
          <p:cNvSpPr>
            <a:spLocks noGrp="1"/>
          </p:cNvSpPr>
          <p:nvPr>
            <p:ph type="body" idx="46" hasCustomPrompt="1"/>
          </p:nvPr>
        </p:nvSpPr>
        <p:spPr>
          <a:xfrm>
            <a:off x="8944817" y="4828784"/>
            <a:ext cx="2257404" cy="1397274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1400" b="0" cap="none" baseline="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8995455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597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Headline+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E5CE04-C121-2373-E7E4-45C22E1AEB4E}"/>
              </a:ext>
            </a:extLst>
          </p:cNvPr>
          <p:cNvSpPr txBox="1">
            <a:spLocks/>
          </p:cNvSpPr>
          <p:nvPr userDrawn="1"/>
        </p:nvSpPr>
        <p:spPr>
          <a:xfrm>
            <a:off x="810492" y="862770"/>
            <a:ext cx="10515600" cy="827918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>
              <a:solidFill>
                <a:schemeClr val="bg1"/>
              </a:solidFill>
            </a:endParaRPr>
          </a:p>
        </p:txBody>
      </p:sp>
      <p:sp>
        <p:nvSpPr>
          <p:cNvPr id="8" name="Title Placeholder 7">
            <a:extLst>
              <a:ext uri="{FF2B5EF4-FFF2-40B4-BE49-F238E27FC236}">
                <a16:creationId xmlns:a16="http://schemas.microsoft.com/office/drawing/2014/main" id="{32F99EC6-1962-DADA-D52B-CCC28ECE83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862770"/>
            <a:ext cx="10515600" cy="64935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here to add your title</a:t>
            </a:r>
            <a:endParaRPr lang="hu-HU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E6B2A888-D5E8-9D6D-F495-22DAC593150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188332"/>
            <a:ext cx="10515600" cy="3988630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hu-HU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3FA862D5-5E5A-8928-01E2-8CF677E86459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838200" y="1507220"/>
            <a:ext cx="10515600" cy="455548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add subtitl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7ABAAEA-3159-7C34-BC3E-94A9FBF39A2B}"/>
              </a:ext>
            </a:extLst>
          </p:cNvPr>
          <p:cNvSpPr/>
          <p:nvPr userDrawn="1"/>
        </p:nvSpPr>
        <p:spPr>
          <a:xfrm>
            <a:off x="0" y="6498771"/>
            <a:ext cx="12192000" cy="359229"/>
          </a:xfrm>
          <a:prstGeom prst="rect">
            <a:avLst/>
          </a:prstGeom>
          <a:solidFill>
            <a:schemeClr val="bg2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2"/>
              </a:solidFill>
            </a:endParaRPr>
          </a:p>
        </p:txBody>
      </p:sp>
      <p:sp>
        <p:nvSpPr>
          <p:cNvPr id="7" name="Google Shape;519;p16">
            <a:extLst>
              <a:ext uri="{FF2B5EF4-FFF2-40B4-BE49-F238E27FC236}">
                <a16:creationId xmlns:a16="http://schemas.microsoft.com/office/drawing/2014/main" id="{9DD5D824-4815-3D7A-8948-5D3996E8BDA3}"/>
              </a:ext>
            </a:extLst>
          </p:cNvPr>
          <p:cNvSpPr/>
          <p:nvPr userDrawn="1"/>
        </p:nvSpPr>
        <p:spPr>
          <a:xfrm>
            <a:off x="11431039" y="6226058"/>
            <a:ext cx="547419" cy="545425"/>
          </a:xfrm>
          <a:prstGeom prst="ellipse">
            <a:avLst/>
          </a:prstGeom>
          <a:solidFill>
            <a:schemeClr val="tx2"/>
          </a:solidFill>
          <a:ln>
            <a:noFill/>
          </a:ln>
          <a:effectLst>
            <a:outerShdw blurRad="50800" dist="38100" dir="8100000" algn="tr" rotWithShape="0">
              <a:prstClr val="black">
                <a:alpha val="10348"/>
              </a:prst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56EEDCCB-A80F-DB95-03BD-91BF0272730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0017" y="6594232"/>
            <a:ext cx="828582" cy="168306"/>
          </a:xfrm>
          <a:prstGeom prst="rect">
            <a:avLst/>
          </a:prstGeom>
        </p:spPr>
      </p:pic>
      <p:sp>
        <p:nvSpPr>
          <p:cNvPr id="11" name="Google Shape;423;p13">
            <a:extLst>
              <a:ext uri="{FF2B5EF4-FFF2-40B4-BE49-F238E27FC236}">
                <a16:creationId xmlns:a16="http://schemas.microsoft.com/office/drawing/2014/main" id="{E8CFAFA3-27EE-691E-E767-18922B410F9E}"/>
              </a:ext>
            </a:extLst>
          </p:cNvPr>
          <p:cNvSpPr txBox="1"/>
          <p:nvPr userDrawn="1"/>
        </p:nvSpPr>
        <p:spPr>
          <a:xfrm>
            <a:off x="11507512" y="6364038"/>
            <a:ext cx="394471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fld id="{EAB91DC4-3975-794F-B8BB-6E50AC3E5273}" type="slidenum">
              <a:rPr lang="en-US" sz="1200" smtClean="0">
                <a:latin typeface="Montserrat Light" pitchFamily="2" charset="77"/>
                <a:ea typeface="Roboto Condensed"/>
                <a:cs typeface="Roboto Condensed"/>
                <a:sym typeface="Roboto Condensed"/>
              </a:rPr>
              <a:t>‹#›</a:t>
            </a:fld>
            <a:endParaRPr sz="1200">
              <a:latin typeface="Montserrat Light" pitchFamily="2" charset="77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724C156-A278-2CF5-B8E4-221F77537D5C}"/>
              </a:ext>
            </a:extLst>
          </p:cNvPr>
          <p:cNvSpPr/>
          <p:nvPr userDrawn="1"/>
        </p:nvSpPr>
        <p:spPr>
          <a:xfrm>
            <a:off x="919457" y="728871"/>
            <a:ext cx="1284137" cy="13389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C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340170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Midd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E5CE04-C121-2373-E7E4-45C22E1AEB4E}"/>
              </a:ext>
            </a:extLst>
          </p:cNvPr>
          <p:cNvSpPr txBox="1">
            <a:spLocks/>
          </p:cNvSpPr>
          <p:nvPr userDrawn="1"/>
        </p:nvSpPr>
        <p:spPr>
          <a:xfrm>
            <a:off x="810492" y="862770"/>
            <a:ext cx="10515600" cy="827918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88BFA983-8CCF-D515-E831-42BF7D4520E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2473938" y="-78888"/>
            <a:ext cx="7244123" cy="7015776"/>
          </a:xfrm>
          <a:prstGeom prst="rect">
            <a:avLst/>
          </a:prstGeom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90721FBE-3692-BEFE-6106-568A60CBAC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0492" y="1878630"/>
            <a:ext cx="10515600" cy="2104580"/>
          </a:xfrm>
          <a:prstGeom prst="rect">
            <a:avLst/>
          </a:prstGeom>
        </p:spPr>
        <p:txBody>
          <a:bodyPr anchor="b">
            <a:normAutofit/>
          </a:bodyPr>
          <a:lstStyle>
            <a:lvl1pPr algn="ctr"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GB"/>
              <a:t>Click here to add your title</a:t>
            </a:r>
            <a:endParaRPr lang="hu-HU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AE7D004D-56E2-25EE-1209-662EE76DD3E5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810492" y="4188818"/>
            <a:ext cx="10515600" cy="455548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add subtitle</a:t>
            </a:r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8038FB8C-DE8B-E886-4E33-FD78D4A377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10492" y="534631"/>
            <a:ext cx="1789273" cy="363447"/>
          </a:xfrm>
          <a:prstGeom prst="rect">
            <a:avLst/>
          </a:prstGeom>
        </p:spPr>
      </p:pic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C97F50AC-8779-DFBA-27EC-34077B7E8859}"/>
              </a:ext>
            </a:extLst>
          </p:cNvPr>
          <p:cNvSpPr>
            <a:spLocks noGrp="1"/>
          </p:cNvSpPr>
          <p:nvPr>
            <p:ph type="body" sz="half" idx="14" hasCustomPrompt="1"/>
          </p:nvPr>
        </p:nvSpPr>
        <p:spPr>
          <a:xfrm>
            <a:off x="865907" y="5790474"/>
            <a:ext cx="6489211" cy="690868"/>
          </a:xfrm>
        </p:spPr>
        <p:txBody>
          <a:bodyPr anchor="b">
            <a:normAutofit/>
          </a:bodyPr>
          <a:lstStyle>
            <a:lvl1pPr marL="0" indent="0" algn="l">
              <a:buNone/>
              <a:defRPr sz="2400" cap="all" baseline="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NAME OF PRESENTER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0FBDC65B-4BCF-4731-4A94-CA32AE17FBA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039319" y="5790838"/>
            <a:ext cx="3286773" cy="690868"/>
          </a:xfrm>
          <a:prstGeom prst="rect">
            <a:avLst/>
          </a:prstGeom>
        </p:spPr>
        <p:txBody>
          <a:bodyPr anchor="b"/>
          <a:lstStyle>
            <a:lvl1pPr algn="r">
              <a:defRPr sz="1600">
                <a:solidFill>
                  <a:schemeClr val="bg1"/>
                </a:solidFill>
              </a:defRPr>
            </a:lvl1pPr>
          </a:lstStyle>
          <a:p>
            <a:fld id="{E6E320F8-A717-0848-9F77-518345B9133F}" type="datetime3">
              <a:rPr lang="en-US" smtClean="0"/>
              <a:pPr/>
              <a:t>10 April 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5818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Headlin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855BE13A-E600-BBCA-F22B-35F5FDFE11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40767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A2A790EE-3C50-2F27-BBAE-96BA9E141DB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2264" y="776941"/>
            <a:ext cx="3209008" cy="1528937"/>
          </a:xfrm>
          <a:prstGeom prst="rect">
            <a:avLst/>
          </a:prstGeom>
        </p:spPr>
        <p:txBody>
          <a:bodyPr rtlCol="0" anchor="t">
            <a:normAutofit/>
          </a:bodyPr>
          <a:lstStyle>
            <a:lvl1pPr>
              <a:defRPr sz="3200" spc="-20" baseline="0">
                <a:solidFill>
                  <a:schemeClr val="bg1"/>
                </a:solidFill>
              </a:defRPr>
            </a:lvl1pPr>
          </a:lstStyle>
          <a:p>
            <a:pPr rtl="0"/>
            <a:r>
              <a:rPr lang="en-GB"/>
              <a:t>Click here to add your title</a:t>
            </a:r>
            <a:endParaRPr lang="en-GB" noProof="0">
              <a:solidFill>
                <a:srgbClr val="FFFFFF"/>
              </a:solidFill>
            </a:endParaRP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A466B331-5E7F-7958-C01A-619C28BD814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08963" y="776941"/>
            <a:ext cx="6744837" cy="516665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hu-HU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B224137-4D18-0B64-7D4B-D33845C8A2BC}"/>
              </a:ext>
            </a:extLst>
          </p:cNvPr>
          <p:cNvSpPr/>
          <p:nvPr userDrawn="1"/>
        </p:nvSpPr>
        <p:spPr>
          <a:xfrm>
            <a:off x="0" y="6498771"/>
            <a:ext cx="12192000" cy="359229"/>
          </a:xfrm>
          <a:prstGeom prst="rect">
            <a:avLst/>
          </a:prstGeom>
          <a:solidFill>
            <a:schemeClr val="bg2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2"/>
              </a:solidFill>
            </a:endParaRPr>
          </a:p>
        </p:txBody>
      </p:sp>
      <p:sp>
        <p:nvSpPr>
          <p:cNvPr id="8" name="Google Shape;519;p16">
            <a:extLst>
              <a:ext uri="{FF2B5EF4-FFF2-40B4-BE49-F238E27FC236}">
                <a16:creationId xmlns:a16="http://schemas.microsoft.com/office/drawing/2014/main" id="{7BD30494-9634-3797-6180-1D75C8615149}"/>
              </a:ext>
            </a:extLst>
          </p:cNvPr>
          <p:cNvSpPr/>
          <p:nvPr userDrawn="1"/>
        </p:nvSpPr>
        <p:spPr>
          <a:xfrm>
            <a:off x="11431039" y="6226058"/>
            <a:ext cx="547419" cy="545425"/>
          </a:xfrm>
          <a:prstGeom prst="ellipse">
            <a:avLst/>
          </a:prstGeom>
          <a:solidFill>
            <a:schemeClr val="tx2"/>
          </a:solidFill>
          <a:ln>
            <a:noFill/>
          </a:ln>
          <a:effectLst>
            <a:outerShdw blurRad="50800" dist="38100" dir="8100000" algn="tr" rotWithShape="0">
              <a:prstClr val="black">
                <a:alpha val="10348"/>
              </a:prst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FA97A7E8-F836-87B0-81D1-C06F0DECB80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0017" y="6594232"/>
            <a:ext cx="828582" cy="168306"/>
          </a:xfrm>
          <a:prstGeom prst="rect">
            <a:avLst/>
          </a:prstGeom>
        </p:spPr>
      </p:pic>
      <p:sp>
        <p:nvSpPr>
          <p:cNvPr id="14" name="Google Shape;423;p13">
            <a:extLst>
              <a:ext uri="{FF2B5EF4-FFF2-40B4-BE49-F238E27FC236}">
                <a16:creationId xmlns:a16="http://schemas.microsoft.com/office/drawing/2014/main" id="{19CB88DB-7965-F99B-2EE4-D2A635F04FD0}"/>
              </a:ext>
            </a:extLst>
          </p:cNvPr>
          <p:cNvSpPr txBox="1"/>
          <p:nvPr userDrawn="1"/>
        </p:nvSpPr>
        <p:spPr>
          <a:xfrm>
            <a:off x="11507512" y="6364038"/>
            <a:ext cx="394471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fld id="{EAB91DC4-3975-794F-B8BB-6E50AC3E5273}" type="slidenum">
              <a:rPr lang="en-US" sz="1200" smtClean="0">
                <a:latin typeface="Montserrat Light" pitchFamily="2" charset="77"/>
                <a:ea typeface="Roboto Condensed"/>
                <a:cs typeface="Roboto Condensed"/>
                <a:sym typeface="Roboto Condensed"/>
              </a:rPr>
              <a:t>‹#›</a:t>
            </a:fld>
            <a:endParaRPr sz="1200">
              <a:latin typeface="Montserrat Light" pitchFamily="2" charset="77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BFA1906-9D3C-23E4-6B0E-981B65371A85}"/>
              </a:ext>
            </a:extLst>
          </p:cNvPr>
          <p:cNvSpPr/>
          <p:nvPr userDrawn="1"/>
        </p:nvSpPr>
        <p:spPr>
          <a:xfrm>
            <a:off x="589598" y="642625"/>
            <a:ext cx="1284137" cy="13389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C000"/>
              </a:solidFill>
            </a:endParaRPr>
          </a:p>
        </p:txBody>
      </p:sp>
      <p:sp>
        <p:nvSpPr>
          <p:cNvPr id="2" name="Text Placeholder 15">
            <a:extLst>
              <a:ext uri="{FF2B5EF4-FFF2-40B4-BE49-F238E27FC236}">
                <a16:creationId xmlns:a16="http://schemas.microsoft.com/office/drawing/2014/main" id="{32E040F1-D7A8-4151-F1A6-8176CEFE38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32264" y="2440610"/>
            <a:ext cx="3209008" cy="3502989"/>
          </a:xfrm>
        </p:spPr>
        <p:txBody>
          <a:bodyPr rtlCol="0">
            <a:normAutofit/>
          </a:bodyPr>
          <a:lstStyle>
            <a:lvl1pPr>
              <a:buClr>
                <a:schemeClr val="bg1"/>
              </a:buClr>
              <a:defRPr sz="1800">
                <a:solidFill>
                  <a:schemeClr val="bg1"/>
                </a:solidFill>
              </a:defRPr>
            </a:lvl1pPr>
          </a:lstStyle>
          <a:p>
            <a:pPr lvl="0" rtl="0"/>
            <a:r>
              <a:rPr lang="en-GB" noProof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35173977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w/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Rectangle 55">
            <a:extLst>
              <a:ext uri="{FF2B5EF4-FFF2-40B4-BE49-F238E27FC236}">
                <a16:creationId xmlns:a16="http://schemas.microsoft.com/office/drawing/2014/main" id="{D49B0A9A-B93A-C22E-964C-34A015A9AB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"/>
            <a:ext cx="12192000" cy="3429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6E5CE04-C121-2373-E7E4-45C22E1AEB4E}"/>
              </a:ext>
            </a:extLst>
          </p:cNvPr>
          <p:cNvSpPr txBox="1">
            <a:spLocks/>
          </p:cNvSpPr>
          <p:nvPr userDrawn="1"/>
        </p:nvSpPr>
        <p:spPr>
          <a:xfrm>
            <a:off x="810492" y="862770"/>
            <a:ext cx="10515600" cy="827918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/>
          </a:p>
        </p:txBody>
      </p:sp>
      <p:sp>
        <p:nvSpPr>
          <p:cNvPr id="8" name="Title Placeholder 7">
            <a:extLst>
              <a:ext uri="{FF2B5EF4-FFF2-40B4-BE49-F238E27FC236}">
                <a16:creationId xmlns:a16="http://schemas.microsoft.com/office/drawing/2014/main" id="{32F99EC6-1962-DADA-D52B-CCC28ECE83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862771"/>
            <a:ext cx="10515600" cy="64445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here to add your title</a:t>
            </a:r>
            <a:endParaRPr lang="hu-HU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184D420-0D5D-3D50-05EE-C913B7865A84}"/>
              </a:ext>
            </a:extLst>
          </p:cNvPr>
          <p:cNvSpPr/>
          <p:nvPr userDrawn="1"/>
        </p:nvSpPr>
        <p:spPr>
          <a:xfrm>
            <a:off x="913448" y="728871"/>
            <a:ext cx="1284137" cy="13389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C000"/>
              </a:solidFill>
            </a:endParaRPr>
          </a:p>
        </p:txBody>
      </p:sp>
      <p:sp>
        <p:nvSpPr>
          <p:cNvPr id="4" name="Picture Placeholder 27">
            <a:extLst>
              <a:ext uri="{FF2B5EF4-FFF2-40B4-BE49-F238E27FC236}">
                <a16:creationId xmlns:a16="http://schemas.microsoft.com/office/drawing/2014/main" id="{E9C29263-604D-2D36-FE35-5A859CB82B9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314200" y="2648572"/>
            <a:ext cx="1560858" cy="1560856"/>
          </a:xfrm>
          <a:custGeom>
            <a:avLst/>
            <a:gdLst>
              <a:gd name="connsiteX0" fmla="*/ 1877652 w 3755304"/>
              <a:gd name="connsiteY0" fmla="*/ 0 h 3755300"/>
              <a:gd name="connsiteX1" fmla="*/ 3755304 w 3755304"/>
              <a:gd name="connsiteY1" fmla="*/ 1877650 h 3755300"/>
              <a:gd name="connsiteX2" fmla="*/ 1877652 w 3755304"/>
              <a:gd name="connsiteY2" fmla="*/ 3755300 h 3755300"/>
              <a:gd name="connsiteX3" fmla="*/ 0 w 3755304"/>
              <a:gd name="connsiteY3" fmla="*/ 1877650 h 3755300"/>
              <a:gd name="connsiteX4" fmla="*/ 1877652 w 3755304"/>
              <a:gd name="connsiteY4" fmla="*/ 0 h 375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55304" h="3755300">
                <a:moveTo>
                  <a:pt x="1877652" y="0"/>
                </a:moveTo>
                <a:cubicBezTo>
                  <a:pt x="2914651" y="0"/>
                  <a:pt x="3755304" y="840653"/>
                  <a:pt x="3755304" y="1877650"/>
                </a:cubicBezTo>
                <a:cubicBezTo>
                  <a:pt x="3755304" y="2914647"/>
                  <a:pt x="2914651" y="3755300"/>
                  <a:pt x="1877652" y="3755300"/>
                </a:cubicBezTo>
                <a:cubicBezTo>
                  <a:pt x="840653" y="3755300"/>
                  <a:pt x="0" y="2914647"/>
                  <a:pt x="0" y="1877650"/>
                </a:cubicBezTo>
                <a:cubicBezTo>
                  <a:pt x="0" y="840653"/>
                  <a:pt x="840653" y="0"/>
                  <a:pt x="1877652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  <a:p>
            <a:r>
              <a:rPr lang="en-US"/>
              <a:t>Add icon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63EB95E4-32F7-F1AD-3543-8BA7E8D032D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965927" y="4409572"/>
            <a:ext cx="2257404" cy="35922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1800" b="0" cap="none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Add title</a:t>
            </a:r>
          </a:p>
        </p:txBody>
      </p:sp>
      <p:sp>
        <p:nvSpPr>
          <p:cNvPr id="10" name="Picture Placeholder 27">
            <a:extLst>
              <a:ext uri="{FF2B5EF4-FFF2-40B4-BE49-F238E27FC236}">
                <a16:creationId xmlns:a16="http://schemas.microsoft.com/office/drawing/2014/main" id="{83B40E9F-DE8B-BE44-FED4-16C5F77F3FF0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3973830" y="2648572"/>
            <a:ext cx="1560858" cy="1560856"/>
          </a:xfrm>
          <a:custGeom>
            <a:avLst/>
            <a:gdLst>
              <a:gd name="connsiteX0" fmla="*/ 1877652 w 3755304"/>
              <a:gd name="connsiteY0" fmla="*/ 0 h 3755300"/>
              <a:gd name="connsiteX1" fmla="*/ 3755304 w 3755304"/>
              <a:gd name="connsiteY1" fmla="*/ 1877650 h 3755300"/>
              <a:gd name="connsiteX2" fmla="*/ 1877652 w 3755304"/>
              <a:gd name="connsiteY2" fmla="*/ 3755300 h 3755300"/>
              <a:gd name="connsiteX3" fmla="*/ 0 w 3755304"/>
              <a:gd name="connsiteY3" fmla="*/ 1877650 h 3755300"/>
              <a:gd name="connsiteX4" fmla="*/ 1877652 w 3755304"/>
              <a:gd name="connsiteY4" fmla="*/ 0 h 375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55304" h="3755300">
                <a:moveTo>
                  <a:pt x="1877652" y="0"/>
                </a:moveTo>
                <a:cubicBezTo>
                  <a:pt x="2914651" y="0"/>
                  <a:pt x="3755304" y="840653"/>
                  <a:pt x="3755304" y="1877650"/>
                </a:cubicBezTo>
                <a:cubicBezTo>
                  <a:pt x="3755304" y="2914647"/>
                  <a:pt x="2914651" y="3755300"/>
                  <a:pt x="1877652" y="3755300"/>
                </a:cubicBezTo>
                <a:cubicBezTo>
                  <a:pt x="840653" y="3755300"/>
                  <a:pt x="0" y="2914647"/>
                  <a:pt x="0" y="1877650"/>
                </a:cubicBezTo>
                <a:cubicBezTo>
                  <a:pt x="0" y="840653"/>
                  <a:pt x="840653" y="0"/>
                  <a:pt x="1877652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  <a:p>
            <a:r>
              <a:rPr lang="en-US"/>
              <a:t>Add icon</a:t>
            </a:r>
          </a:p>
        </p:txBody>
      </p:sp>
      <p:sp>
        <p:nvSpPr>
          <p:cNvPr id="14" name="Picture Placeholder 27">
            <a:extLst>
              <a:ext uri="{FF2B5EF4-FFF2-40B4-BE49-F238E27FC236}">
                <a16:creationId xmlns:a16="http://schemas.microsoft.com/office/drawing/2014/main" id="{B016A6E1-B877-ED40-C5F1-2E1EB0D0229E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6633460" y="2648572"/>
            <a:ext cx="1560858" cy="1560856"/>
          </a:xfrm>
          <a:custGeom>
            <a:avLst/>
            <a:gdLst>
              <a:gd name="connsiteX0" fmla="*/ 1877652 w 3755304"/>
              <a:gd name="connsiteY0" fmla="*/ 0 h 3755300"/>
              <a:gd name="connsiteX1" fmla="*/ 3755304 w 3755304"/>
              <a:gd name="connsiteY1" fmla="*/ 1877650 h 3755300"/>
              <a:gd name="connsiteX2" fmla="*/ 1877652 w 3755304"/>
              <a:gd name="connsiteY2" fmla="*/ 3755300 h 3755300"/>
              <a:gd name="connsiteX3" fmla="*/ 0 w 3755304"/>
              <a:gd name="connsiteY3" fmla="*/ 1877650 h 3755300"/>
              <a:gd name="connsiteX4" fmla="*/ 1877652 w 3755304"/>
              <a:gd name="connsiteY4" fmla="*/ 0 h 375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55304" h="3755300">
                <a:moveTo>
                  <a:pt x="1877652" y="0"/>
                </a:moveTo>
                <a:cubicBezTo>
                  <a:pt x="2914651" y="0"/>
                  <a:pt x="3755304" y="840653"/>
                  <a:pt x="3755304" y="1877650"/>
                </a:cubicBezTo>
                <a:cubicBezTo>
                  <a:pt x="3755304" y="2914647"/>
                  <a:pt x="2914651" y="3755300"/>
                  <a:pt x="1877652" y="3755300"/>
                </a:cubicBezTo>
                <a:cubicBezTo>
                  <a:pt x="840653" y="3755300"/>
                  <a:pt x="0" y="2914647"/>
                  <a:pt x="0" y="1877650"/>
                </a:cubicBezTo>
                <a:cubicBezTo>
                  <a:pt x="0" y="840653"/>
                  <a:pt x="840653" y="0"/>
                  <a:pt x="1877652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  <a:p>
            <a:r>
              <a:rPr lang="en-US"/>
              <a:t>Add icon</a:t>
            </a:r>
          </a:p>
        </p:txBody>
      </p:sp>
      <p:sp>
        <p:nvSpPr>
          <p:cNvPr id="18" name="Picture Placeholder 27">
            <a:extLst>
              <a:ext uri="{FF2B5EF4-FFF2-40B4-BE49-F238E27FC236}">
                <a16:creationId xmlns:a16="http://schemas.microsoft.com/office/drawing/2014/main" id="{307800ED-F777-CF5B-1133-70ADA64B3304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9293090" y="2648572"/>
            <a:ext cx="1560858" cy="1560856"/>
          </a:xfrm>
          <a:custGeom>
            <a:avLst/>
            <a:gdLst>
              <a:gd name="connsiteX0" fmla="*/ 1877652 w 3755304"/>
              <a:gd name="connsiteY0" fmla="*/ 0 h 3755300"/>
              <a:gd name="connsiteX1" fmla="*/ 3755304 w 3755304"/>
              <a:gd name="connsiteY1" fmla="*/ 1877650 h 3755300"/>
              <a:gd name="connsiteX2" fmla="*/ 1877652 w 3755304"/>
              <a:gd name="connsiteY2" fmla="*/ 3755300 h 3755300"/>
              <a:gd name="connsiteX3" fmla="*/ 0 w 3755304"/>
              <a:gd name="connsiteY3" fmla="*/ 1877650 h 3755300"/>
              <a:gd name="connsiteX4" fmla="*/ 1877652 w 3755304"/>
              <a:gd name="connsiteY4" fmla="*/ 0 h 375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55304" h="3755300">
                <a:moveTo>
                  <a:pt x="1877652" y="0"/>
                </a:moveTo>
                <a:cubicBezTo>
                  <a:pt x="2914651" y="0"/>
                  <a:pt x="3755304" y="840653"/>
                  <a:pt x="3755304" y="1877650"/>
                </a:cubicBezTo>
                <a:cubicBezTo>
                  <a:pt x="3755304" y="2914647"/>
                  <a:pt x="2914651" y="3755300"/>
                  <a:pt x="1877652" y="3755300"/>
                </a:cubicBezTo>
                <a:cubicBezTo>
                  <a:pt x="840653" y="3755300"/>
                  <a:pt x="0" y="2914647"/>
                  <a:pt x="0" y="1877650"/>
                </a:cubicBezTo>
                <a:cubicBezTo>
                  <a:pt x="0" y="840653"/>
                  <a:pt x="840653" y="0"/>
                  <a:pt x="1877652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  <a:p>
            <a:r>
              <a:rPr lang="en-US"/>
              <a:t>Add ic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3B4A26C-A50C-6B4B-4112-A9C00BC55469}"/>
              </a:ext>
            </a:extLst>
          </p:cNvPr>
          <p:cNvSpPr/>
          <p:nvPr userDrawn="1"/>
        </p:nvSpPr>
        <p:spPr>
          <a:xfrm>
            <a:off x="0" y="6498771"/>
            <a:ext cx="12192000" cy="359229"/>
          </a:xfrm>
          <a:prstGeom prst="rect">
            <a:avLst/>
          </a:prstGeom>
          <a:solidFill>
            <a:schemeClr val="tx1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Google Shape;519;p16">
            <a:extLst>
              <a:ext uri="{FF2B5EF4-FFF2-40B4-BE49-F238E27FC236}">
                <a16:creationId xmlns:a16="http://schemas.microsoft.com/office/drawing/2014/main" id="{EFD02F8E-590F-6907-3DBE-DA04F82FAB61}"/>
              </a:ext>
            </a:extLst>
          </p:cNvPr>
          <p:cNvSpPr/>
          <p:nvPr userDrawn="1"/>
        </p:nvSpPr>
        <p:spPr>
          <a:xfrm>
            <a:off x="11431039" y="6226058"/>
            <a:ext cx="547419" cy="545425"/>
          </a:xfrm>
          <a:prstGeom prst="ellipse">
            <a:avLst/>
          </a:prstGeom>
          <a:solidFill>
            <a:schemeClr val="tx2"/>
          </a:solidFill>
          <a:ln>
            <a:noFill/>
          </a:ln>
          <a:effectLst>
            <a:outerShdw blurRad="50800" dist="38100" dir="8100000" algn="tr" rotWithShape="0">
              <a:prstClr val="black">
                <a:alpha val="10348"/>
              </a:prst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" name="Google Shape;423;p13">
            <a:extLst>
              <a:ext uri="{FF2B5EF4-FFF2-40B4-BE49-F238E27FC236}">
                <a16:creationId xmlns:a16="http://schemas.microsoft.com/office/drawing/2014/main" id="{D39BDF0D-D0CE-E387-05BC-090D7A7CF454}"/>
              </a:ext>
            </a:extLst>
          </p:cNvPr>
          <p:cNvSpPr txBox="1"/>
          <p:nvPr userDrawn="1"/>
        </p:nvSpPr>
        <p:spPr>
          <a:xfrm>
            <a:off x="11507512" y="6364038"/>
            <a:ext cx="394471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fld id="{EAB91DC4-3975-794F-B8BB-6E50AC3E5273}" type="slidenum">
              <a:rPr lang="en-US" sz="1200" smtClean="0">
                <a:latin typeface="Montserrat Light" pitchFamily="2" charset="77"/>
                <a:ea typeface="Roboto Condensed"/>
                <a:cs typeface="Roboto Condensed"/>
                <a:sym typeface="Roboto Condensed"/>
              </a:rPr>
              <a:t>‹#›</a:t>
            </a:fld>
            <a:endParaRPr sz="1200">
              <a:latin typeface="Montserrat Light" pitchFamily="2" charset="77"/>
            </a:endParaRP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6DA1E31E-2525-4264-627E-91CD2CD94C6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0017" y="6594232"/>
            <a:ext cx="828582" cy="168306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E19B0E3-513C-F620-7A12-ECC964E90248}"/>
              </a:ext>
            </a:extLst>
          </p:cNvPr>
          <p:cNvSpPr>
            <a:spLocks noGrp="1"/>
          </p:cNvSpPr>
          <p:nvPr>
            <p:ph type="body" idx="41" hasCustomPrompt="1"/>
          </p:nvPr>
        </p:nvSpPr>
        <p:spPr>
          <a:xfrm>
            <a:off x="3625557" y="4409571"/>
            <a:ext cx="2257404" cy="35922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1800" b="0" cap="none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Add title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39E2D8F2-361D-4B02-713B-9B7E01F2694F}"/>
              </a:ext>
            </a:extLst>
          </p:cNvPr>
          <p:cNvSpPr>
            <a:spLocks noGrp="1"/>
          </p:cNvSpPr>
          <p:nvPr>
            <p:ph type="body" idx="42" hasCustomPrompt="1"/>
          </p:nvPr>
        </p:nvSpPr>
        <p:spPr>
          <a:xfrm>
            <a:off x="6285187" y="4414558"/>
            <a:ext cx="2257404" cy="35922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1800" b="0" cap="none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Add title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C867B756-DE04-A244-D7B0-B0FBC684127A}"/>
              </a:ext>
            </a:extLst>
          </p:cNvPr>
          <p:cNvSpPr>
            <a:spLocks noGrp="1"/>
          </p:cNvSpPr>
          <p:nvPr>
            <p:ph type="body" idx="43" hasCustomPrompt="1"/>
          </p:nvPr>
        </p:nvSpPr>
        <p:spPr>
          <a:xfrm>
            <a:off x="8944817" y="4409572"/>
            <a:ext cx="2257404" cy="35922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1800" b="0" cap="none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Add title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BCDE6ED9-A147-D5E4-5AA1-284E43903E76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965927" y="4828784"/>
            <a:ext cx="2257404" cy="1397274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1400" b="0" cap="none" baseline="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40A9D653-F13A-9CA9-8033-6F206B3CE87E}"/>
              </a:ext>
            </a:extLst>
          </p:cNvPr>
          <p:cNvSpPr>
            <a:spLocks noGrp="1"/>
          </p:cNvSpPr>
          <p:nvPr>
            <p:ph type="body" idx="44" hasCustomPrompt="1"/>
          </p:nvPr>
        </p:nvSpPr>
        <p:spPr>
          <a:xfrm>
            <a:off x="3622913" y="4828784"/>
            <a:ext cx="2257404" cy="1397274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1400" b="0" cap="none" baseline="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322A9FFF-2808-E0EF-39C9-519B91E6EFFE}"/>
              </a:ext>
            </a:extLst>
          </p:cNvPr>
          <p:cNvSpPr>
            <a:spLocks noGrp="1"/>
          </p:cNvSpPr>
          <p:nvPr>
            <p:ph type="body" idx="45" hasCustomPrompt="1"/>
          </p:nvPr>
        </p:nvSpPr>
        <p:spPr>
          <a:xfrm>
            <a:off x="6286206" y="4828784"/>
            <a:ext cx="2257404" cy="1397274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1400" b="0" cap="none" baseline="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4A19EA07-69C9-DFAD-2349-75908FF29B4F}"/>
              </a:ext>
            </a:extLst>
          </p:cNvPr>
          <p:cNvSpPr>
            <a:spLocks noGrp="1"/>
          </p:cNvSpPr>
          <p:nvPr>
            <p:ph type="body" idx="46" hasCustomPrompt="1"/>
          </p:nvPr>
        </p:nvSpPr>
        <p:spPr>
          <a:xfrm>
            <a:off x="8944817" y="4828784"/>
            <a:ext cx="2257404" cy="1397274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1400" b="0" cap="none" baseline="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8995455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597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Headline+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E5CE04-C121-2373-E7E4-45C22E1AEB4E}"/>
              </a:ext>
            </a:extLst>
          </p:cNvPr>
          <p:cNvSpPr txBox="1">
            <a:spLocks/>
          </p:cNvSpPr>
          <p:nvPr userDrawn="1"/>
        </p:nvSpPr>
        <p:spPr>
          <a:xfrm>
            <a:off x="810492" y="862770"/>
            <a:ext cx="10515600" cy="827918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>
              <a:solidFill>
                <a:schemeClr val="bg1"/>
              </a:solidFill>
            </a:endParaRPr>
          </a:p>
        </p:txBody>
      </p:sp>
      <p:sp>
        <p:nvSpPr>
          <p:cNvPr id="8" name="Title Placeholder 7">
            <a:extLst>
              <a:ext uri="{FF2B5EF4-FFF2-40B4-BE49-F238E27FC236}">
                <a16:creationId xmlns:a16="http://schemas.microsoft.com/office/drawing/2014/main" id="{32F99EC6-1962-DADA-D52B-CCC28ECE83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862770"/>
            <a:ext cx="10515600" cy="64935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here to add your title</a:t>
            </a:r>
            <a:endParaRPr lang="hu-HU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E6B2A888-D5E8-9D6D-F495-22DAC593150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188332"/>
            <a:ext cx="10515600" cy="3988630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hu-HU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3FA862D5-5E5A-8928-01E2-8CF677E86459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838200" y="1507220"/>
            <a:ext cx="10515600" cy="455548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add subtitl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7ABAAEA-3159-7C34-BC3E-94A9FBF39A2B}"/>
              </a:ext>
            </a:extLst>
          </p:cNvPr>
          <p:cNvSpPr/>
          <p:nvPr userDrawn="1"/>
        </p:nvSpPr>
        <p:spPr>
          <a:xfrm>
            <a:off x="0" y="6498771"/>
            <a:ext cx="12192000" cy="359229"/>
          </a:xfrm>
          <a:prstGeom prst="rect">
            <a:avLst/>
          </a:prstGeom>
          <a:solidFill>
            <a:schemeClr val="bg2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2"/>
              </a:solidFill>
            </a:endParaRPr>
          </a:p>
        </p:txBody>
      </p:sp>
      <p:sp>
        <p:nvSpPr>
          <p:cNvPr id="7" name="Google Shape;519;p16">
            <a:extLst>
              <a:ext uri="{FF2B5EF4-FFF2-40B4-BE49-F238E27FC236}">
                <a16:creationId xmlns:a16="http://schemas.microsoft.com/office/drawing/2014/main" id="{9DD5D824-4815-3D7A-8948-5D3996E8BDA3}"/>
              </a:ext>
            </a:extLst>
          </p:cNvPr>
          <p:cNvSpPr/>
          <p:nvPr userDrawn="1"/>
        </p:nvSpPr>
        <p:spPr>
          <a:xfrm>
            <a:off x="11431039" y="6226058"/>
            <a:ext cx="547419" cy="545425"/>
          </a:xfrm>
          <a:prstGeom prst="ellipse">
            <a:avLst/>
          </a:prstGeom>
          <a:solidFill>
            <a:schemeClr val="tx2"/>
          </a:solidFill>
          <a:ln>
            <a:noFill/>
          </a:ln>
          <a:effectLst>
            <a:outerShdw blurRad="50800" dist="38100" dir="8100000" algn="tr" rotWithShape="0">
              <a:prstClr val="black">
                <a:alpha val="10348"/>
              </a:prst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56EEDCCB-A80F-DB95-03BD-91BF0272730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0017" y="6594232"/>
            <a:ext cx="828582" cy="168306"/>
          </a:xfrm>
          <a:prstGeom prst="rect">
            <a:avLst/>
          </a:prstGeom>
        </p:spPr>
      </p:pic>
      <p:sp>
        <p:nvSpPr>
          <p:cNvPr id="11" name="Google Shape;423;p13">
            <a:extLst>
              <a:ext uri="{FF2B5EF4-FFF2-40B4-BE49-F238E27FC236}">
                <a16:creationId xmlns:a16="http://schemas.microsoft.com/office/drawing/2014/main" id="{E8CFAFA3-27EE-691E-E767-18922B410F9E}"/>
              </a:ext>
            </a:extLst>
          </p:cNvPr>
          <p:cNvSpPr txBox="1"/>
          <p:nvPr userDrawn="1"/>
        </p:nvSpPr>
        <p:spPr>
          <a:xfrm>
            <a:off x="11507512" y="6364038"/>
            <a:ext cx="394471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fld id="{EAB91DC4-3975-794F-B8BB-6E50AC3E5273}" type="slidenum">
              <a:rPr lang="en-US" sz="1200" smtClean="0">
                <a:latin typeface="Montserrat Light" pitchFamily="2" charset="77"/>
                <a:ea typeface="Roboto Condensed"/>
                <a:cs typeface="Roboto Condensed"/>
                <a:sym typeface="Roboto Condensed"/>
              </a:rPr>
              <a:t>‹#›</a:t>
            </a:fld>
            <a:endParaRPr sz="1200">
              <a:latin typeface="Montserrat Light" pitchFamily="2" charset="77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724C156-A278-2CF5-B8E4-221F77537D5C}"/>
              </a:ext>
            </a:extLst>
          </p:cNvPr>
          <p:cNvSpPr/>
          <p:nvPr userDrawn="1"/>
        </p:nvSpPr>
        <p:spPr>
          <a:xfrm>
            <a:off x="919457" y="728871"/>
            <a:ext cx="1284137" cy="13389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C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340170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Headlin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855BE13A-E600-BBCA-F22B-35F5FDFE11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40767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A2A790EE-3C50-2F27-BBAE-96BA9E141DB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2264" y="776941"/>
            <a:ext cx="3209008" cy="1528937"/>
          </a:xfrm>
          <a:prstGeom prst="rect">
            <a:avLst/>
          </a:prstGeom>
        </p:spPr>
        <p:txBody>
          <a:bodyPr rtlCol="0" anchor="t">
            <a:normAutofit/>
          </a:bodyPr>
          <a:lstStyle>
            <a:lvl1pPr>
              <a:defRPr sz="3200" spc="-20" baseline="0">
                <a:solidFill>
                  <a:schemeClr val="bg1"/>
                </a:solidFill>
              </a:defRPr>
            </a:lvl1pPr>
          </a:lstStyle>
          <a:p>
            <a:pPr rtl="0"/>
            <a:r>
              <a:rPr lang="en-GB"/>
              <a:t>Click here to add your title</a:t>
            </a:r>
            <a:endParaRPr lang="en-GB" noProof="0">
              <a:solidFill>
                <a:srgbClr val="FFFFFF"/>
              </a:solidFill>
            </a:endParaRP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A466B331-5E7F-7958-C01A-619C28BD814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08963" y="776941"/>
            <a:ext cx="6744837" cy="516665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hu-HU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B224137-4D18-0B64-7D4B-D33845C8A2BC}"/>
              </a:ext>
            </a:extLst>
          </p:cNvPr>
          <p:cNvSpPr/>
          <p:nvPr userDrawn="1"/>
        </p:nvSpPr>
        <p:spPr>
          <a:xfrm>
            <a:off x="0" y="6498771"/>
            <a:ext cx="12192000" cy="359229"/>
          </a:xfrm>
          <a:prstGeom prst="rect">
            <a:avLst/>
          </a:prstGeom>
          <a:solidFill>
            <a:schemeClr val="bg2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2"/>
              </a:solidFill>
            </a:endParaRPr>
          </a:p>
        </p:txBody>
      </p:sp>
      <p:sp>
        <p:nvSpPr>
          <p:cNvPr id="8" name="Google Shape;519;p16">
            <a:extLst>
              <a:ext uri="{FF2B5EF4-FFF2-40B4-BE49-F238E27FC236}">
                <a16:creationId xmlns:a16="http://schemas.microsoft.com/office/drawing/2014/main" id="{7BD30494-9634-3797-6180-1D75C8615149}"/>
              </a:ext>
            </a:extLst>
          </p:cNvPr>
          <p:cNvSpPr/>
          <p:nvPr userDrawn="1"/>
        </p:nvSpPr>
        <p:spPr>
          <a:xfrm>
            <a:off x="11431039" y="6226058"/>
            <a:ext cx="547419" cy="545425"/>
          </a:xfrm>
          <a:prstGeom prst="ellipse">
            <a:avLst/>
          </a:prstGeom>
          <a:solidFill>
            <a:schemeClr val="tx2"/>
          </a:solidFill>
          <a:ln>
            <a:noFill/>
          </a:ln>
          <a:effectLst>
            <a:outerShdw blurRad="50800" dist="38100" dir="8100000" algn="tr" rotWithShape="0">
              <a:prstClr val="black">
                <a:alpha val="10348"/>
              </a:prst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FA97A7E8-F836-87B0-81D1-C06F0DECB80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0017" y="6594232"/>
            <a:ext cx="828582" cy="168306"/>
          </a:xfrm>
          <a:prstGeom prst="rect">
            <a:avLst/>
          </a:prstGeom>
        </p:spPr>
      </p:pic>
      <p:sp>
        <p:nvSpPr>
          <p:cNvPr id="14" name="Google Shape;423;p13">
            <a:extLst>
              <a:ext uri="{FF2B5EF4-FFF2-40B4-BE49-F238E27FC236}">
                <a16:creationId xmlns:a16="http://schemas.microsoft.com/office/drawing/2014/main" id="{19CB88DB-7965-F99B-2EE4-D2A635F04FD0}"/>
              </a:ext>
            </a:extLst>
          </p:cNvPr>
          <p:cNvSpPr txBox="1"/>
          <p:nvPr userDrawn="1"/>
        </p:nvSpPr>
        <p:spPr>
          <a:xfrm>
            <a:off x="11507512" y="6364038"/>
            <a:ext cx="394471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fld id="{EAB91DC4-3975-794F-B8BB-6E50AC3E5273}" type="slidenum">
              <a:rPr lang="en-US" sz="1200" smtClean="0">
                <a:latin typeface="Montserrat Light" pitchFamily="2" charset="77"/>
                <a:ea typeface="Roboto Condensed"/>
                <a:cs typeface="Roboto Condensed"/>
                <a:sym typeface="Roboto Condensed"/>
              </a:rPr>
              <a:t>‹#›</a:t>
            </a:fld>
            <a:endParaRPr sz="1200">
              <a:latin typeface="Montserrat Light" pitchFamily="2" charset="77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BFA1906-9D3C-23E4-6B0E-981B65371A85}"/>
              </a:ext>
            </a:extLst>
          </p:cNvPr>
          <p:cNvSpPr/>
          <p:nvPr userDrawn="1"/>
        </p:nvSpPr>
        <p:spPr>
          <a:xfrm>
            <a:off x="589598" y="642625"/>
            <a:ext cx="1284137" cy="13389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C000"/>
              </a:solidFill>
            </a:endParaRPr>
          </a:p>
        </p:txBody>
      </p:sp>
      <p:sp>
        <p:nvSpPr>
          <p:cNvPr id="2" name="Text Placeholder 15">
            <a:extLst>
              <a:ext uri="{FF2B5EF4-FFF2-40B4-BE49-F238E27FC236}">
                <a16:creationId xmlns:a16="http://schemas.microsoft.com/office/drawing/2014/main" id="{32E040F1-D7A8-4151-F1A6-8176CEFE38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32264" y="2440610"/>
            <a:ext cx="3209008" cy="3502989"/>
          </a:xfrm>
        </p:spPr>
        <p:txBody>
          <a:bodyPr rtlCol="0">
            <a:normAutofit/>
          </a:bodyPr>
          <a:lstStyle>
            <a:lvl1pPr>
              <a:buClr>
                <a:schemeClr val="bg1"/>
              </a:buClr>
              <a:defRPr sz="1800">
                <a:solidFill>
                  <a:schemeClr val="bg1"/>
                </a:solidFill>
              </a:defRPr>
            </a:lvl1pPr>
          </a:lstStyle>
          <a:p>
            <a:pPr lvl="0" rtl="0"/>
            <a:r>
              <a:rPr lang="en-GB" noProof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35173977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eadlin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E5CE04-C121-2373-E7E4-45C22E1AEB4E}"/>
              </a:ext>
            </a:extLst>
          </p:cNvPr>
          <p:cNvSpPr txBox="1">
            <a:spLocks/>
          </p:cNvSpPr>
          <p:nvPr userDrawn="1"/>
        </p:nvSpPr>
        <p:spPr>
          <a:xfrm>
            <a:off x="810492" y="862770"/>
            <a:ext cx="10515600" cy="827918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/>
          </a:p>
        </p:txBody>
      </p:sp>
      <p:sp>
        <p:nvSpPr>
          <p:cNvPr id="8" name="Title Placeholder 7">
            <a:extLst>
              <a:ext uri="{FF2B5EF4-FFF2-40B4-BE49-F238E27FC236}">
                <a16:creationId xmlns:a16="http://schemas.microsoft.com/office/drawing/2014/main" id="{32F99EC6-1962-DADA-D52B-CCC28ECE83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862771"/>
            <a:ext cx="10515600" cy="64445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GB"/>
              <a:t>Click here to add your title</a:t>
            </a:r>
            <a:endParaRPr lang="hu-HU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A52FB7A4-0A93-6639-66A6-CD5EF42873B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188332"/>
            <a:ext cx="10515600" cy="398863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hu-HU"/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5726370E-52EC-EBDE-DA1F-672EADDBA4F5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838200" y="1507220"/>
            <a:ext cx="10515600" cy="455548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add subtitle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35061B50-F62C-3A77-C7DD-B80BC38D3DAC}"/>
              </a:ext>
            </a:extLst>
          </p:cNvPr>
          <p:cNvSpPr/>
          <p:nvPr userDrawn="1"/>
        </p:nvSpPr>
        <p:spPr>
          <a:xfrm>
            <a:off x="0" y="6498771"/>
            <a:ext cx="12192000" cy="359229"/>
          </a:xfrm>
          <a:prstGeom prst="rect">
            <a:avLst/>
          </a:prstGeom>
          <a:solidFill>
            <a:schemeClr val="tx1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Google Shape;519;p16">
            <a:extLst>
              <a:ext uri="{FF2B5EF4-FFF2-40B4-BE49-F238E27FC236}">
                <a16:creationId xmlns:a16="http://schemas.microsoft.com/office/drawing/2014/main" id="{DBCC46B9-DF8F-69C8-E2E7-4AA9FDAF8DF9}"/>
              </a:ext>
            </a:extLst>
          </p:cNvPr>
          <p:cNvSpPr/>
          <p:nvPr userDrawn="1"/>
        </p:nvSpPr>
        <p:spPr>
          <a:xfrm>
            <a:off x="11431039" y="6226058"/>
            <a:ext cx="547419" cy="545425"/>
          </a:xfrm>
          <a:prstGeom prst="ellipse">
            <a:avLst/>
          </a:prstGeom>
          <a:solidFill>
            <a:schemeClr val="tx2"/>
          </a:solidFill>
          <a:ln>
            <a:noFill/>
          </a:ln>
          <a:effectLst>
            <a:outerShdw blurRad="50800" dist="38100" dir="8100000" algn="tr" rotWithShape="0">
              <a:prstClr val="black">
                <a:alpha val="10348"/>
              </a:prst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0" name="Google Shape;423;p13">
            <a:extLst>
              <a:ext uri="{FF2B5EF4-FFF2-40B4-BE49-F238E27FC236}">
                <a16:creationId xmlns:a16="http://schemas.microsoft.com/office/drawing/2014/main" id="{6B22C8B2-CB0C-617E-C681-7BEEC690220E}"/>
              </a:ext>
            </a:extLst>
          </p:cNvPr>
          <p:cNvSpPr txBox="1"/>
          <p:nvPr userDrawn="1"/>
        </p:nvSpPr>
        <p:spPr>
          <a:xfrm>
            <a:off x="11507512" y="6364038"/>
            <a:ext cx="394471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fld id="{EAB91DC4-3975-794F-B8BB-6E50AC3E5273}" type="slidenum">
              <a:rPr lang="en-US" sz="1200" smtClean="0">
                <a:latin typeface="Montserrat Light" pitchFamily="2" charset="77"/>
                <a:ea typeface="Roboto Condensed"/>
                <a:cs typeface="Roboto Condensed"/>
                <a:sym typeface="Roboto Condensed"/>
              </a:rPr>
              <a:t>‹#›</a:t>
            </a:fld>
            <a:endParaRPr sz="1200">
              <a:latin typeface="Montserrat Light" pitchFamily="2" charset="77"/>
            </a:endParaRPr>
          </a:p>
        </p:txBody>
      </p:sp>
      <p:pic>
        <p:nvPicPr>
          <p:cNvPr id="31" name="Graphic 30">
            <a:extLst>
              <a:ext uri="{FF2B5EF4-FFF2-40B4-BE49-F238E27FC236}">
                <a16:creationId xmlns:a16="http://schemas.microsoft.com/office/drawing/2014/main" id="{B27213A6-C00D-A3F2-459F-13793971044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0017" y="6594232"/>
            <a:ext cx="828582" cy="168306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C33713FE-F6A7-DBF6-280A-5E73EC68F22F}"/>
              </a:ext>
            </a:extLst>
          </p:cNvPr>
          <p:cNvSpPr/>
          <p:nvPr userDrawn="1"/>
        </p:nvSpPr>
        <p:spPr>
          <a:xfrm>
            <a:off x="919457" y="728871"/>
            <a:ext cx="1284137" cy="13389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C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713995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lin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E5CE04-C121-2373-E7E4-45C22E1AEB4E}"/>
              </a:ext>
            </a:extLst>
          </p:cNvPr>
          <p:cNvSpPr txBox="1">
            <a:spLocks/>
          </p:cNvSpPr>
          <p:nvPr userDrawn="1"/>
        </p:nvSpPr>
        <p:spPr>
          <a:xfrm>
            <a:off x="810492" y="862770"/>
            <a:ext cx="10515600" cy="827918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/>
          </a:p>
        </p:txBody>
      </p:sp>
      <p:sp>
        <p:nvSpPr>
          <p:cNvPr id="8" name="Title Placeholder 7">
            <a:extLst>
              <a:ext uri="{FF2B5EF4-FFF2-40B4-BE49-F238E27FC236}">
                <a16:creationId xmlns:a16="http://schemas.microsoft.com/office/drawing/2014/main" id="{32F99EC6-1962-DADA-D52B-CCC28ECE83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862771"/>
            <a:ext cx="10515600" cy="64445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GB"/>
              <a:t>Click here to add your title</a:t>
            </a:r>
            <a:endParaRPr lang="hu-HU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A52FB7A4-0A93-6639-66A6-CD5EF42873B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188332"/>
            <a:ext cx="10515600" cy="398863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hu-HU"/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5726370E-52EC-EBDE-DA1F-672EADDBA4F5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838200" y="1507220"/>
            <a:ext cx="10515600" cy="455548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add subtitle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35061B50-F62C-3A77-C7DD-B80BC38D3DAC}"/>
              </a:ext>
            </a:extLst>
          </p:cNvPr>
          <p:cNvSpPr/>
          <p:nvPr userDrawn="1"/>
        </p:nvSpPr>
        <p:spPr>
          <a:xfrm>
            <a:off x="0" y="6498771"/>
            <a:ext cx="12192000" cy="359229"/>
          </a:xfrm>
          <a:prstGeom prst="rect">
            <a:avLst/>
          </a:prstGeom>
          <a:solidFill>
            <a:schemeClr val="tx1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Google Shape;519;p16">
            <a:extLst>
              <a:ext uri="{FF2B5EF4-FFF2-40B4-BE49-F238E27FC236}">
                <a16:creationId xmlns:a16="http://schemas.microsoft.com/office/drawing/2014/main" id="{DBCC46B9-DF8F-69C8-E2E7-4AA9FDAF8DF9}"/>
              </a:ext>
            </a:extLst>
          </p:cNvPr>
          <p:cNvSpPr/>
          <p:nvPr userDrawn="1"/>
        </p:nvSpPr>
        <p:spPr>
          <a:xfrm>
            <a:off x="11431039" y="6226058"/>
            <a:ext cx="547419" cy="545425"/>
          </a:xfrm>
          <a:prstGeom prst="ellipse">
            <a:avLst/>
          </a:prstGeom>
          <a:solidFill>
            <a:schemeClr val="tx2"/>
          </a:solidFill>
          <a:ln>
            <a:noFill/>
          </a:ln>
          <a:effectLst>
            <a:outerShdw blurRad="50800" dist="38100" dir="8100000" algn="tr" rotWithShape="0">
              <a:prstClr val="black">
                <a:alpha val="10348"/>
              </a:prst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0" name="Google Shape;423;p13">
            <a:extLst>
              <a:ext uri="{FF2B5EF4-FFF2-40B4-BE49-F238E27FC236}">
                <a16:creationId xmlns:a16="http://schemas.microsoft.com/office/drawing/2014/main" id="{6B22C8B2-CB0C-617E-C681-7BEEC690220E}"/>
              </a:ext>
            </a:extLst>
          </p:cNvPr>
          <p:cNvSpPr txBox="1"/>
          <p:nvPr userDrawn="1"/>
        </p:nvSpPr>
        <p:spPr>
          <a:xfrm>
            <a:off x="11507512" y="6364038"/>
            <a:ext cx="394471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fld id="{EAB91DC4-3975-794F-B8BB-6E50AC3E5273}" type="slidenum">
              <a:rPr lang="en-US" sz="1200" smtClean="0">
                <a:latin typeface="Montserrat Light" pitchFamily="2" charset="77"/>
                <a:ea typeface="Roboto Condensed"/>
                <a:cs typeface="Roboto Condensed"/>
                <a:sym typeface="Roboto Condensed"/>
              </a:rPr>
              <a:t>‹#›</a:t>
            </a:fld>
            <a:endParaRPr sz="1200">
              <a:latin typeface="Montserrat Light" pitchFamily="2" charset="77"/>
            </a:endParaRPr>
          </a:p>
        </p:txBody>
      </p:sp>
      <p:pic>
        <p:nvPicPr>
          <p:cNvPr id="31" name="Graphic 30">
            <a:extLst>
              <a:ext uri="{FF2B5EF4-FFF2-40B4-BE49-F238E27FC236}">
                <a16:creationId xmlns:a16="http://schemas.microsoft.com/office/drawing/2014/main" id="{B27213A6-C00D-A3F2-459F-13793971044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0017" y="6594232"/>
            <a:ext cx="828582" cy="168306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C33713FE-F6A7-DBF6-280A-5E73EC68F22F}"/>
              </a:ext>
            </a:extLst>
          </p:cNvPr>
          <p:cNvSpPr/>
          <p:nvPr userDrawn="1"/>
        </p:nvSpPr>
        <p:spPr>
          <a:xfrm>
            <a:off x="919457" y="728871"/>
            <a:ext cx="1284137" cy="13389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C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802538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eadline+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E5CE04-C121-2373-E7E4-45C22E1AEB4E}"/>
              </a:ext>
            </a:extLst>
          </p:cNvPr>
          <p:cNvSpPr txBox="1">
            <a:spLocks/>
          </p:cNvSpPr>
          <p:nvPr userDrawn="1"/>
        </p:nvSpPr>
        <p:spPr>
          <a:xfrm>
            <a:off x="810492" y="862770"/>
            <a:ext cx="10515600" cy="827918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>
              <a:solidFill>
                <a:schemeClr val="bg1"/>
              </a:solidFill>
            </a:endParaRPr>
          </a:p>
        </p:txBody>
      </p:sp>
      <p:sp>
        <p:nvSpPr>
          <p:cNvPr id="8" name="Title Placeholder 7">
            <a:extLst>
              <a:ext uri="{FF2B5EF4-FFF2-40B4-BE49-F238E27FC236}">
                <a16:creationId xmlns:a16="http://schemas.microsoft.com/office/drawing/2014/main" id="{32F99EC6-1962-DADA-D52B-CCC28ECE83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862770"/>
            <a:ext cx="10515600" cy="64935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here to add your title</a:t>
            </a:r>
            <a:endParaRPr lang="hu-HU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E6B2A888-D5E8-9D6D-F495-22DAC593150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188332"/>
            <a:ext cx="10515600" cy="3988630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hu-HU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3FA862D5-5E5A-8928-01E2-8CF677E86459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838200" y="1507220"/>
            <a:ext cx="10515600" cy="455548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add subtitl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7ABAAEA-3159-7C34-BC3E-94A9FBF39A2B}"/>
              </a:ext>
            </a:extLst>
          </p:cNvPr>
          <p:cNvSpPr/>
          <p:nvPr userDrawn="1"/>
        </p:nvSpPr>
        <p:spPr>
          <a:xfrm>
            <a:off x="0" y="6498771"/>
            <a:ext cx="12192000" cy="359229"/>
          </a:xfrm>
          <a:prstGeom prst="rect">
            <a:avLst/>
          </a:prstGeom>
          <a:solidFill>
            <a:schemeClr val="bg2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2"/>
              </a:solidFill>
            </a:endParaRPr>
          </a:p>
        </p:txBody>
      </p:sp>
      <p:sp>
        <p:nvSpPr>
          <p:cNvPr id="7" name="Google Shape;519;p16">
            <a:extLst>
              <a:ext uri="{FF2B5EF4-FFF2-40B4-BE49-F238E27FC236}">
                <a16:creationId xmlns:a16="http://schemas.microsoft.com/office/drawing/2014/main" id="{9DD5D824-4815-3D7A-8948-5D3996E8BDA3}"/>
              </a:ext>
            </a:extLst>
          </p:cNvPr>
          <p:cNvSpPr/>
          <p:nvPr userDrawn="1"/>
        </p:nvSpPr>
        <p:spPr>
          <a:xfrm>
            <a:off x="11431039" y="6226058"/>
            <a:ext cx="547419" cy="545425"/>
          </a:xfrm>
          <a:prstGeom prst="ellipse">
            <a:avLst/>
          </a:prstGeom>
          <a:solidFill>
            <a:schemeClr val="tx2"/>
          </a:solidFill>
          <a:ln>
            <a:noFill/>
          </a:ln>
          <a:effectLst>
            <a:outerShdw blurRad="50800" dist="38100" dir="8100000" algn="tr" rotWithShape="0">
              <a:prstClr val="black">
                <a:alpha val="10348"/>
              </a:prst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56EEDCCB-A80F-DB95-03BD-91BF0272730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0017" y="6594232"/>
            <a:ext cx="828582" cy="168306"/>
          </a:xfrm>
          <a:prstGeom prst="rect">
            <a:avLst/>
          </a:prstGeom>
        </p:spPr>
      </p:pic>
      <p:sp>
        <p:nvSpPr>
          <p:cNvPr id="11" name="Google Shape;423;p13">
            <a:extLst>
              <a:ext uri="{FF2B5EF4-FFF2-40B4-BE49-F238E27FC236}">
                <a16:creationId xmlns:a16="http://schemas.microsoft.com/office/drawing/2014/main" id="{E8CFAFA3-27EE-691E-E767-18922B410F9E}"/>
              </a:ext>
            </a:extLst>
          </p:cNvPr>
          <p:cNvSpPr txBox="1"/>
          <p:nvPr userDrawn="1"/>
        </p:nvSpPr>
        <p:spPr>
          <a:xfrm>
            <a:off x="11507512" y="6364038"/>
            <a:ext cx="394471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fld id="{EAB91DC4-3975-794F-B8BB-6E50AC3E5273}" type="slidenum">
              <a:rPr lang="en-US" sz="1200" smtClean="0">
                <a:latin typeface="Montserrat Light" pitchFamily="2" charset="77"/>
                <a:ea typeface="Roboto Condensed"/>
                <a:cs typeface="Roboto Condensed"/>
                <a:sym typeface="Roboto Condensed"/>
              </a:rPr>
              <a:t>‹#›</a:t>
            </a:fld>
            <a:endParaRPr sz="1200">
              <a:latin typeface="Montserrat Light" pitchFamily="2" charset="77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724C156-A278-2CF5-B8E4-221F77537D5C}"/>
              </a:ext>
            </a:extLst>
          </p:cNvPr>
          <p:cNvSpPr/>
          <p:nvPr userDrawn="1"/>
        </p:nvSpPr>
        <p:spPr>
          <a:xfrm>
            <a:off x="919457" y="728871"/>
            <a:ext cx="1284137" cy="13389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C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731912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Headlin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855BE13A-E600-BBCA-F22B-35F5FDFE11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40767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A2A790EE-3C50-2F27-BBAE-96BA9E141DB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2264" y="776941"/>
            <a:ext cx="3209008" cy="5166659"/>
          </a:xfrm>
          <a:prstGeom prst="rect">
            <a:avLst/>
          </a:prstGeom>
        </p:spPr>
        <p:txBody>
          <a:bodyPr rtlCol="0" anchor="t">
            <a:normAutofit/>
          </a:bodyPr>
          <a:lstStyle>
            <a:lvl1pPr>
              <a:defRPr sz="3200" spc="-20" baseline="0">
                <a:solidFill>
                  <a:schemeClr val="bg1"/>
                </a:solidFill>
              </a:defRPr>
            </a:lvl1pPr>
          </a:lstStyle>
          <a:p>
            <a:pPr rtl="0"/>
            <a:r>
              <a:rPr lang="en-GB"/>
              <a:t>Click here to add your title</a:t>
            </a:r>
            <a:endParaRPr lang="en-GB" noProof="0">
              <a:solidFill>
                <a:srgbClr val="FFFFFF"/>
              </a:solidFill>
            </a:endParaRP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A466B331-5E7F-7958-C01A-619C28BD814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08963" y="776941"/>
            <a:ext cx="6744837" cy="516665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hu-HU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B224137-4D18-0B64-7D4B-D33845C8A2BC}"/>
              </a:ext>
            </a:extLst>
          </p:cNvPr>
          <p:cNvSpPr/>
          <p:nvPr userDrawn="1"/>
        </p:nvSpPr>
        <p:spPr>
          <a:xfrm>
            <a:off x="0" y="6498771"/>
            <a:ext cx="12192000" cy="359229"/>
          </a:xfrm>
          <a:prstGeom prst="rect">
            <a:avLst/>
          </a:prstGeom>
          <a:solidFill>
            <a:schemeClr val="bg2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2"/>
              </a:solidFill>
            </a:endParaRPr>
          </a:p>
        </p:txBody>
      </p:sp>
      <p:sp>
        <p:nvSpPr>
          <p:cNvPr id="8" name="Google Shape;519;p16">
            <a:extLst>
              <a:ext uri="{FF2B5EF4-FFF2-40B4-BE49-F238E27FC236}">
                <a16:creationId xmlns:a16="http://schemas.microsoft.com/office/drawing/2014/main" id="{7BD30494-9634-3797-6180-1D75C8615149}"/>
              </a:ext>
            </a:extLst>
          </p:cNvPr>
          <p:cNvSpPr/>
          <p:nvPr userDrawn="1"/>
        </p:nvSpPr>
        <p:spPr>
          <a:xfrm>
            <a:off x="11431039" y="6226058"/>
            <a:ext cx="547419" cy="545425"/>
          </a:xfrm>
          <a:prstGeom prst="ellipse">
            <a:avLst/>
          </a:prstGeom>
          <a:solidFill>
            <a:schemeClr val="tx2"/>
          </a:solidFill>
          <a:ln>
            <a:noFill/>
          </a:ln>
          <a:effectLst>
            <a:outerShdw blurRad="50800" dist="38100" dir="8100000" algn="tr" rotWithShape="0">
              <a:prstClr val="black">
                <a:alpha val="10348"/>
              </a:prst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FA97A7E8-F836-87B0-81D1-C06F0DECB80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0017" y="6594232"/>
            <a:ext cx="828582" cy="168306"/>
          </a:xfrm>
          <a:prstGeom prst="rect">
            <a:avLst/>
          </a:prstGeom>
        </p:spPr>
      </p:pic>
      <p:sp>
        <p:nvSpPr>
          <p:cNvPr id="14" name="Google Shape;423;p13">
            <a:extLst>
              <a:ext uri="{FF2B5EF4-FFF2-40B4-BE49-F238E27FC236}">
                <a16:creationId xmlns:a16="http://schemas.microsoft.com/office/drawing/2014/main" id="{19CB88DB-7965-F99B-2EE4-D2A635F04FD0}"/>
              </a:ext>
            </a:extLst>
          </p:cNvPr>
          <p:cNvSpPr txBox="1"/>
          <p:nvPr userDrawn="1"/>
        </p:nvSpPr>
        <p:spPr>
          <a:xfrm>
            <a:off x="11507512" y="6364038"/>
            <a:ext cx="394471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fld id="{EAB91DC4-3975-794F-B8BB-6E50AC3E5273}" type="slidenum">
              <a:rPr lang="en-US" sz="1200" smtClean="0">
                <a:latin typeface="Montserrat Light" pitchFamily="2" charset="77"/>
                <a:ea typeface="Roboto Condensed"/>
                <a:cs typeface="Roboto Condensed"/>
                <a:sym typeface="Roboto Condensed"/>
              </a:rPr>
              <a:t>‹#›</a:t>
            </a:fld>
            <a:endParaRPr sz="1200">
              <a:latin typeface="Montserrat Light" pitchFamily="2" charset="77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BFA1906-9D3C-23E4-6B0E-981B65371A85}"/>
              </a:ext>
            </a:extLst>
          </p:cNvPr>
          <p:cNvSpPr/>
          <p:nvPr userDrawn="1"/>
        </p:nvSpPr>
        <p:spPr>
          <a:xfrm>
            <a:off x="589598" y="642625"/>
            <a:ext cx="1284137" cy="13389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C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224211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Headlin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7E5E7A43-2251-F110-22BD-66B3C247F6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15300" y="0"/>
            <a:ext cx="40767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B224137-4D18-0B64-7D4B-D33845C8A2BC}"/>
              </a:ext>
            </a:extLst>
          </p:cNvPr>
          <p:cNvSpPr/>
          <p:nvPr userDrawn="1"/>
        </p:nvSpPr>
        <p:spPr>
          <a:xfrm>
            <a:off x="0" y="6498771"/>
            <a:ext cx="12192000" cy="359229"/>
          </a:xfrm>
          <a:prstGeom prst="rect">
            <a:avLst/>
          </a:prstGeom>
          <a:solidFill>
            <a:schemeClr val="bg2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2"/>
              </a:solidFill>
            </a:endParaRPr>
          </a:p>
        </p:txBody>
      </p:sp>
      <p:sp>
        <p:nvSpPr>
          <p:cNvPr id="8" name="Google Shape;519;p16">
            <a:extLst>
              <a:ext uri="{FF2B5EF4-FFF2-40B4-BE49-F238E27FC236}">
                <a16:creationId xmlns:a16="http://schemas.microsoft.com/office/drawing/2014/main" id="{7BD30494-9634-3797-6180-1D75C8615149}"/>
              </a:ext>
            </a:extLst>
          </p:cNvPr>
          <p:cNvSpPr/>
          <p:nvPr userDrawn="1"/>
        </p:nvSpPr>
        <p:spPr>
          <a:xfrm>
            <a:off x="11431039" y="6226058"/>
            <a:ext cx="547419" cy="545425"/>
          </a:xfrm>
          <a:prstGeom prst="ellipse">
            <a:avLst/>
          </a:prstGeom>
          <a:solidFill>
            <a:schemeClr val="tx2"/>
          </a:solidFill>
          <a:ln>
            <a:noFill/>
          </a:ln>
          <a:effectLst>
            <a:outerShdw blurRad="50800" dist="38100" dir="8100000" algn="tr" rotWithShape="0">
              <a:prstClr val="black">
                <a:alpha val="10348"/>
              </a:prst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FA97A7E8-F836-87B0-81D1-C06F0DECB80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0017" y="6594232"/>
            <a:ext cx="828582" cy="168306"/>
          </a:xfrm>
          <a:prstGeom prst="rect">
            <a:avLst/>
          </a:prstGeom>
        </p:spPr>
      </p:pic>
      <p:sp>
        <p:nvSpPr>
          <p:cNvPr id="14" name="Google Shape;423;p13">
            <a:extLst>
              <a:ext uri="{FF2B5EF4-FFF2-40B4-BE49-F238E27FC236}">
                <a16:creationId xmlns:a16="http://schemas.microsoft.com/office/drawing/2014/main" id="{19CB88DB-7965-F99B-2EE4-D2A635F04FD0}"/>
              </a:ext>
            </a:extLst>
          </p:cNvPr>
          <p:cNvSpPr txBox="1"/>
          <p:nvPr userDrawn="1"/>
        </p:nvSpPr>
        <p:spPr>
          <a:xfrm>
            <a:off x="11507512" y="6364038"/>
            <a:ext cx="394471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fld id="{EAB91DC4-3975-794F-B8BB-6E50AC3E5273}" type="slidenum">
              <a:rPr lang="en-US" sz="1200" smtClean="0">
                <a:latin typeface="Montserrat Light" pitchFamily="2" charset="77"/>
                <a:ea typeface="Roboto Condensed"/>
                <a:cs typeface="Roboto Condensed"/>
                <a:sym typeface="Roboto Condensed"/>
              </a:rPr>
              <a:t>‹#›</a:t>
            </a:fld>
            <a:endParaRPr sz="1200">
              <a:latin typeface="Montserrat Light" pitchFamily="2" charset="77"/>
            </a:endParaRP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20EAFBD8-1188-B63F-D736-2A81B62F5B0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2264" y="776941"/>
            <a:ext cx="6744837" cy="516665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hu-HU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4BC31DEE-2BA4-0752-7B21-2F90ADD2DF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47564" y="788338"/>
            <a:ext cx="3209008" cy="5166659"/>
          </a:xfrm>
          <a:prstGeom prst="rect">
            <a:avLst/>
          </a:prstGeom>
        </p:spPr>
        <p:txBody>
          <a:bodyPr rtlCol="0" anchor="t">
            <a:normAutofit/>
          </a:bodyPr>
          <a:lstStyle>
            <a:lvl1pPr>
              <a:defRPr sz="3200" spc="-20" baseline="0">
                <a:solidFill>
                  <a:schemeClr val="bg1"/>
                </a:solidFill>
              </a:defRPr>
            </a:lvl1pPr>
          </a:lstStyle>
          <a:p>
            <a:pPr rtl="0"/>
            <a:r>
              <a:rPr lang="en-GB"/>
              <a:t>Click here to add your title</a:t>
            </a:r>
            <a:endParaRPr lang="en-GB" noProof="0">
              <a:solidFill>
                <a:srgbClr val="FFFFFF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9509A0A-D78D-DA25-0589-CC54B62FBB02}"/>
              </a:ext>
            </a:extLst>
          </p:cNvPr>
          <p:cNvSpPr/>
          <p:nvPr userDrawn="1"/>
        </p:nvSpPr>
        <p:spPr>
          <a:xfrm>
            <a:off x="8703798" y="642625"/>
            <a:ext cx="1284137" cy="13389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C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55916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5496" userDrawn="1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Headlin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855BE13A-E600-BBCA-F22B-35F5FDFE11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40767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A2A790EE-3C50-2F27-BBAE-96BA9E141DB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2264" y="776941"/>
            <a:ext cx="3209008" cy="1528937"/>
          </a:xfrm>
          <a:prstGeom prst="rect">
            <a:avLst/>
          </a:prstGeom>
        </p:spPr>
        <p:txBody>
          <a:bodyPr rtlCol="0" anchor="t">
            <a:normAutofit/>
          </a:bodyPr>
          <a:lstStyle>
            <a:lvl1pPr>
              <a:defRPr sz="3200" spc="-20" baseline="0">
                <a:solidFill>
                  <a:schemeClr val="bg1"/>
                </a:solidFill>
              </a:defRPr>
            </a:lvl1pPr>
          </a:lstStyle>
          <a:p>
            <a:pPr rtl="0"/>
            <a:r>
              <a:rPr lang="en-GB"/>
              <a:t>Click here to add your title</a:t>
            </a:r>
            <a:endParaRPr lang="en-GB" noProof="0">
              <a:solidFill>
                <a:srgbClr val="FFFFFF"/>
              </a:solidFill>
            </a:endParaRP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A466B331-5E7F-7958-C01A-619C28BD814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08963" y="776941"/>
            <a:ext cx="6744837" cy="516665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hu-HU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B224137-4D18-0B64-7D4B-D33845C8A2BC}"/>
              </a:ext>
            </a:extLst>
          </p:cNvPr>
          <p:cNvSpPr/>
          <p:nvPr userDrawn="1"/>
        </p:nvSpPr>
        <p:spPr>
          <a:xfrm>
            <a:off x="0" y="6498771"/>
            <a:ext cx="12192000" cy="359229"/>
          </a:xfrm>
          <a:prstGeom prst="rect">
            <a:avLst/>
          </a:prstGeom>
          <a:solidFill>
            <a:schemeClr val="bg2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2"/>
              </a:solidFill>
            </a:endParaRPr>
          </a:p>
        </p:txBody>
      </p:sp>
      <p:sp>
        <p:nvSpPr>
          <p:cNvPr id="8" name="Google Shape;519;p16">
            <a:extLst>
              <a:ext uri="{FF2B5EF4-FFF2-40B4-BE49-F238E27FC236}">
                <a16:creationId xmlns:a16="http://schemas.microsoft.com/office/drawing/2014/main" id="{7BD30494-9634-3797-6180-1D75C8615149}"/>
              </a:ext>
            </a:extLst>
          </p:cNvPr>
          <p:cNvSpPr/>
          <p:nvPr userDrawn="1"/>
        </p:nvSpPr>
        <p:spPr>
          <a:xfrm>
            <a:off x="11431039" y="6226058"/>
            <a:ext cx="547419" cy="545425"/>
          </a:xfrm>
          <a:prstGeom prst="ellipse">
            <a:avLst/>
          </a:prstGeom>
          <a:solidFill>
            <a:schemeClr val="tx2"/>
          </a:solidFill>
          <a:ln>
            <a:noFill/>
          </a:ln>
          <a:effectLst>
            <a:outerShdw blurRad="50800" dist="38100" dir="8100000" algn="tr" rotWithShape="0">
              <a:prstClr val="black">
                <a:alpha val="10348"/>
              </a:prst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FA97A7E8-F836-87B0-81D1-C06F0DECB80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0017" y="6594232"/>
            <a:ext cx="828582" cy="168306"/>
          </a:xfrm>
          <a:prstGeom prst="rect">
            <a:avLst/>
          </a:prstGeom>
        </p:spPr>
      </p:pic>
      <p:sp>
        <p:nvSpPr>
          <p:cNvPr id="14" name="Google Shape;423;p13">
            <a:extLst>
              <a:ext uri="{FF2B5EF4-FFF2-40B4-BE49-F238E27FC236}">
                <a16:creationId xmlns:a16="http://schemas.microsoft.com/office/drawing/2014/main" id="{19CB88DB-7965-F99B-2EE4-D2A635F04FD0}"/>
              </a:ext>
            </a:extLst>
          </p:cNvPr>
          <p:cNvSpPr txBox="1"/>
          <p:nvPr userDrawn="1"/>
        </p:nvSpPr>
        <p:spPr>
          <a:xfrm>
            <a:off x="11507512" y="6364038"/>
            <a:ext cx="394471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fld id="{EAB91DC4-3975-794F-B8BB-6E50AC3E5273}" type="slidenum">
              <a:rPr lang="en-US" sz="1200" smtClean="0">
                <a:latin typeface="Montserrat Light" pitchFamily="2" charset="77"/>
                <a:ea typeface="Roboto Condensed"/>
                <a:cs typeface="Roboto Condensed"/>
                <a:sym typeface="Roboto Condensed"/>
              </a:rPr>
              <a:t>‹#›</a:t>
            </a:fld>
            <a:endParaRPr sz="1200">
              <a:latin typeface="Montserrat Light" pitchFamily="2" charset="77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BFA1906-9D3C-23E4-6B0E-981B65371A85}"/>
              </a:ext>
            </a:extLst>
          </p:cNvPr>
          <p:cNvSpPr/>
          <p:nvPr userDrawn="1"/>
        </p:nvSpPr>
        <p:spPr>
          <a:xfrm>
            <a:off x="589598" y="642625"/>
            <a:ext cx="1284137" cy="13389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C000"/>
              </a:solidFill>
            </a:endParaRPr>
          </a:p>
        </p:txBody>
      </p:sp>
      <p:sp>
        <p:nvSpPr>
          <p:cNvPr id="2" name="Text Placeholder 15">
            <a:extLst>
              <a:ext uri="{FF2B5EF4-FFF2-40B4-BE49-F238E27FC236}">
                <a16:creationId xmlns:a16="http://schemas.microsoft.com/office/drawing/2014/main" id="{32E040F1-D7A8-4151-F1A6-8176CEFE38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32264" y="2440610"/>
            <a:ext cx="3209008" cy="3502989"/>
          </a:xfrm>
        </p:spPr>
        <p:txBody>
          <a:bodyPr rtlCol="0">
            <a:normAutofit/>
          </a:bodyPr>
          <a:lstStyle>
            <a:lvl1pPr>
              <a:buClr>
                <a:schemeClr val="bg1"/>
              </a:buClr>
              <a:defRPr sz="1800">
                <a:solidFill>
                  <a:schemeClr val="bg1"/>
                </a:solidFill>
              </a:defRPr>
            </a:lvl1pPr>
          </a:lstStyle>
          <a:p>
            <a:pPr lvl="0" rtl="0"/>
            <a:r>
              <a:rPr lang="en-GB" noProof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00571946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E5CE04-C121-2373-E7E4-45C22E1AEB4E}"/>
              </a:ext>
            </a:extLst>
          </p:cNvPr>
          <p:cNvSpPr txBox="1">
            <a:spLocks/>
          </p:cNvSpPr>
          <p:nvPr userDrawn="1"/>
        </p:nvSpPr>
        <p:spPr>
          <a:xfrm>
            <a:off x="810492" y="862770"/>
            <a:ext cx="10515600" cy="827918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88BFA983-8CCF-D515-E831-42BF7D4520E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2921086" y="381000"/>
            <a:ext cx="6294410" cy="6096000"/>
          </a:xfrm>
          <a:prstGeom prst="rect">
            <a:avLst/>
          </a:prstGeom>
        </p:spPr>
      </p:pic>
      <p:sp>
        <p:nvSpPr>
          <p:cNvPr id="16" name="Title Placeholder 7">
            <a:extLst>
              <a:ext uri="{FF2B5EF4-FFF2-40B4-BE49-F238E27FC236}">
                <a16:creationId xmlns:a16="http://schemas.microsoft.com/office/drawing/2014/main" id="{418573F5-54B9-5F67-1513-BD975E7E99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862770"/>
            <a:ext cx="10515600" cy="8279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cap="all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AGENDA TITLE</a:t>
            </a:r>
            <a:endParaRPr lang="hu-HU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86A7EE7-2FD7-FB95-18A3-662D630B21D6}"/>
              </a:ext>
            </a:extLst>
          </p:cNvPr>
          <p:cNvSpPr/>
          <p:nvPr userDrawn="1"/>
        </p:nvSpPr>
        <p:spPr>
          <a:xfrm>
            <a:off x="921611" y="728870"/>
            <a:ext cx="1284137" cy="13389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6CEF4C7E-DA65-5508-1443-326D14ABE6F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200" y="2188332"/>
            <a:ext cx="10515600" cy="3988630"/>
          </a:xfrm>
        </p:spPr>
        <p:txBody>
          <a:bodyPr numCol="2"/>
          <a:lstStyle>
            <a:lvl1pPr marL="514350" indent="-514350">
              <a:lnSpc>
                <a:spcPct val="150000"/>
              </a:lnSpc>
              <a:buClr>
                <a:schemeClr val="tx2"/>
              </a:buClr>
              <a:buSzPct val="150000"/>
              <a:buFont typeface="+mj-lt"/>
              <a:buAutoNum type="arabicPeriod"/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First</a:t>
            </a:r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2720446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597" userDrawn="1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line+2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E5CE04-C121-2373-E7E4-45C22E1AEB4E}"/>
              </a:ext>
            </a:extLst>
          </p:cNvPr>
          <p:cNvSpPr txBox="1">
            <a:spLocks/>
          </p:cNvSpPr>
          <p:nvPr userDrawn="1"/>
        </p:nvSpPr>
        <p:spPr>
          <a:xfrm>
            <a:off x="810492" y="862770"/>
            <a:ext cx="10515600" cy="827918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/>
          </a:p>
        </p:txBody>
      </p:sp>
      <p:sp>
        <p:nvSpPr>
          <p:cNvPr id="8" name="Title Placeholder 7">
            <a:extLst>
              <a:ext uri="{FF2B5EF4-FFF2-40B4-BE49-F238E27FC236}">
                <a16:creationId xmlns:a16="http://schemas.microsoft.com/office/drawing/2014/main" id="{32F99EC6-1962-DADA-D52B-CCC28ECE83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862770"/>
            <a:ext cx="10515600" cy="8279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GB"/>
              <a:t>Click here to add your title</a:t>
            </a:r>
            <a:endParaRPr lang="hu-HU"/>
          </a:p>
        </p:txBody>
      </p:sp>
      <p:sp>
        <p:nvSpPr>
          <p:cNvPr id="5" name="Text Placeholder 30">
            <a:extLst>
              <a:ext uri="{FF2B5EF4-FFF2-40B4-BE49-F238E27FC236}">
                <a16:creationId xmlns:a16="http://schemas.microsoft.com/office/drawing/2014/main" id="{A8B9B0AA-B573-4766-3FE5-1E393E26138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77868" y="2333874"/>
            <a:ext cx="5048224" cy="597604"/>
          </a:xfrm>
          <a:prstGeom prst="rect">
            <a:avLst/>
          </a:prstGeom>
        </p:spPr>
        <p:txBody>
          <a:bodyPr rtlCol="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 rtl="0"/>
            <a:r>
              <a:rPr lang="en-GB" noProof="0"/>
              <a:t>CLICK TO ADD SUBTITLE</a:t>
            </a:r>
          </a:p>
        </p:txBody>
      </p:sp>
      <p:sp>
        <p:nvSpPr>
          <p:cNvPr id="6" name="Text Placeholder 15">
            <a:extLst>
              <a:ext uri="{FF2B5EF4-FFF2-40B4-BE49-F238E27FC236}">
                <a16:creationId xmlns:a16="http://schemas.microsoft.com/office/drawing/2014/main" id="{CC0B8088-6BDF-D135-BD01-13264D2AD86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77868" y="2944743"/>
            <a:ext cx="5048224" cy="3365500"/>
          </a:xfrm>
        </p:spPr>
        <p:txBody>
          <a:bodyPr rtlCol="0">
            <a:normAutofit/>
          </a:bodyPr>
          <a:lstStyle>
            <a:lvl1pPr>
              <a:defRPr sz="2000"/>
            </a:lvl1pPr>
          </a:lstStyle>
          <a:p>
            <a:pPr lvl="0" rtl="0"/>
            <a:r>
              <a:rPr lang="en-GB" noProof="0"/>
              <a:t>Click to add text</a:t>
            </a:r>
          </a:p>
        </p:txBody>
      </p:sp>
      <p:sp>
        <p:nvSpPr>
          <p:cNvPr id="7" name="Text Placeholder 30">
            <a:extLst>
              <a:ext uri="{FF2B5EF4-FFF2-40B4-BE49-F238E27FC236}">
                <a16:creationId xmlns:a16="http://schemas.microsoft.com/office/drawing/2014/main" id="{EBAE1759-1368-7BD6-5702-CB3F98462C8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38200" y="2347139"/>
            <a:ext cx="5048224" cy="597604"/>
          </a:xfrm>
          <a:prstGeom prst="rect">
            <a:avLst/>
          </a:prstGeom>
        </p:spPr>
        <p:txBody>
          <a:bodyPr rtlCol="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 rtl="0"/>
            <a:r>
              <a:rPr lang="en-GB" noProof="0"/>
              <a:t>CLICK TO ADD SUBTITLE</a:t>
            </a:r>
          </a:p>
        </p:txBody>
      </p:sp>
      <p:sp>
        <p:nvSpPr>
          <p:cNvPr id="10" name="Text Placeholder 15">
            <a:extLst>
              <a:ext uri="{FF2B5EF4-FFF2-40B4-BE49-F238E27FC236}">
                <a16:creationId xmlns:a16="http://schemas.microsoft.com/office/drawing/2014/main" id="{B50FFF02-E596-5A2C-A9D8-A4E2865729F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38200" y="2958008"/>
            <a:ext cx="5048224" cy="3365500"/>
          </a:xfrm>
        </p:spPr>
        <p:txBody>
          <a:bodyPr rtlCol="0">
            <a:normAutofit/>
          </a:bodyPr>
          <a:lstStyle>
            <a:lvl1pPr>
              <a:defRPr sz="2000"/>
            </a:lvl1pPr>
          </a:lstStyle>
          <a:p>
            <a:pPr lvl="0" rtl="0"/>
            <a:r>
              <a:rPr lang="en-GB" noProof="0"/>
              <a:t>Click to add text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2B207BC-9A8F-7029-2D0A-F187A4893843}"/>
              </a:ext>
            </a:extLst>
          </p:cNvPr>
          <p:cNvSpPr/>
          <p:nvPr userDrawn="1"/>
        </p:nvSpPr>
        <p:spPr>
          <a:xfrm>
            <a:off x="0" y="6498771"/>
            <a:ext cx="12192000" cy="359229"/>
          </a:xfrm>
          <a:prstGeom prst="rect">
            <a:avLst/>
          </a:prstGeom>
          <a:solidFill>
            <a:schemeClr val="tx1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Google Shape;519;p16">
            <a:extLst>
              <a:ext uri="{FF2B5EF4-FFF2-40B4-BE49-F238E27FC236}">
                <a16:creationId xmlns:a16="http://schemas.microsoft.com/office/drawing/2014/main" id="{902D9AB6-9A20-F77E-2FC6-71FCDA49936B}"/>
              </a:ext>
            </a:extLst>
          </p:cNvPr>
          <p:cNvSpPr/>
          <p:nvPr userDrawn="1"/>
        </p:nvSpPr>
        <p:spPr>
          <a:xfrm>
            <a:off x="11431039" y="6226058"/>
            <a:ext cx="547419" cy="545425"/>
          </a:xfrm>
          <a:prstGeom prst="ellipse">
            <a:avLst/>
          </a:prstGeom>
          <a:solidFill>
            <a:schemeClr val="tx2"/>
          </a:solidFill>
          <a:ln>
            <a:noFill/>
          </a:ln>
          <a:effectLst>
            <a:outerShdw blurRad="50800" dist="38100" dir="8100000" algn="tr" rotWithShape="0">
              <a:prstClr val="black">
                <a:alpha val="10348"/>
              </a:prst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" name="Google Shape;423;p13">
            <a:extLst>
              <a:ext uri="{FF2B5EF4-FFF2-40B4-BE49-F238E27FC236}">
                <a16:creationId xmlns:a16="http://schemas.microsoft.com/office/drawing/2014/main" id="{7B9CE1F0-F588-DD40-4861-84FC6EE13731}"/>
              </a:ext>
            </a:extLst>
          </p:cNvPr>
          <p:cNvSpPr txBox="1"/>
          <p:nvPr userDrawn="1"/>
        </p:nvSpPr>
        <p:spPr>
          <a:xfrm>
            <a:off x="11507512" y="6364038"/>
            <a:ext cx="394471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fld id="{EAB91DC4-3975-794F-B8BB-6E50AC3E5273}" type="slidenum">
              <a:rPr lang="en-US" sz="1200" smtClean="0">
                <a:latin typeface="Montserrat Light" pitchFamily="2" charset="77"/>
                <a:ea typeface="Roboto Condensed"/>
                <a:cs typeface="Roboto Condensed"/>
                <a:sym typeface="Roboto Condensed"/>
              </a:rPr>
              <a:t>‹#›</a:t>
            </a:fld>
            <a:endParaRPr sz="1200">
              <a:latin typeface="Montserrat Light" pitchFamily="2" charset="77"/>
            </a:endParaRPr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9A089A80-E7F3-7A48-7E8F-66C4984EE28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0017" y="6594232"/>
            <a:ext cx="828582" cy="168306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D9F14BA1-CBC3-EBED-38C4-6DCF0B5AABBC}"/>
              </a:ext>
            </a:extLst>
          </p:cNvPr>
          <p:cNvSpPr/>
          <p:nvPr userDrawn="1"/>
        </p:nvSpPr>
        <p:spPr>
          <a:xfrm>
            <a:off x="919457" y="728871"/>
            <a:ext cx="1284137" cy="13389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C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230211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eadline+2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0007714-D342-C8CD-061B-11D3516F901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hu-HU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E203721-91D2-74D4-A05F-A732B65CB05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hu-HU"/>
          </a:p>
        </p:txBody>
      </p:sp>
      <p:sp>
        <p:nvSpPr>
          <p:cNvPr id="9" name="Title Placeholder 7">
            <a:extLst>
              <a:ext uri="{FF2B5EF4-FFF2-40B4-BE49-F238E27FC236}">
                <a16:creationId xmlns:a16="http://schemas.microsoft.com/office/drawing/2014/main" id="{DA2EB6AE-9164-6888-CD66-83AA5B1EFC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862770"/>
            <a:ext cx="10515600" cy="8279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endParaRPr lang="hu-HU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4D175EB-8349-C936-C196-0D40076FB848}"/>
              </a:ext>
            </a:extLst>
          </p:cNvPr>
          <p:cNvSpPr/>
          <p:nvPr userDrawn="1"/>
        </p:nvSpPr>
        <p:spPr>
          <a:xfrm>
            <a:off x="0" y="6498771"/>
            <a:ext cx="12192000" cy="359229"/>
          </a:xfrm>
          <a:prstGeom prst="rect">
            <a:avLst/>
          </a:prstGeom>
          <a:solidFill>
            <a:schemeClr val="tx1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Google Shape;519;p16">
            <a:extLst>
              <a:ext uri="{FF2B5EF4-FFF2-40B4-BE49-F238E27FC236}">
                <a16:creationId xmlns:a16="http://schemas.microsoft.com/office/drawing/2014/main" id="{2DCA2949-B79E-652F-FE32-D951907C414A}"/>
              </a:ext>
            </a:extLst>
          </p:cNvPr>
          <p:cNvSpPr/>
          <p:nvPr userDrawn="1"/>
        </p:nvSpPr>
        <p:spPr>
          <a:xfrm>
            <a:off x="11431039" y="6226058"/>
            <a:ext cx="547419" cy="545425"/>
          </a:xfrm>
          <a:prstGeom prst="ellipse">
            <a:avLst/>
          </a:prstGeom>
          <a:solidFill>
            <a:schemeClr val="tx2"/>
          </a:solidFill>
          <a:ln>
            <a:noFill/>
          </a:ln>
          <a:effectLst>
            <a:outerShdw blurRad="50800" dist="38100" dir="8100000" algn="tr" rotWithShape="0">
              <a:prstClr val="black">
                <a:alpha val="10348"/>
              </a:prst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" name="Google Shape;423;p13">
            <a:extLst>
              <a:ext uri="{FF2B5EF4-FFF2-40B4-BE49-F238E27FC236}">
                <a16:creationId xmlns:a16="http://schemas.microsoft.com/office/drawing/2014/main" id="{268723DF-5EFC-42A5-1EED-61992F5C25C8}"/>
              </a:ext>
            </a:extLst>
          </p:cNvPr>
          <p:cNvSpPr txBox="1"/>
          <p:nvPr userDrawn="1"/>
        </p:nvSpPr>
        <p:spPr>
          <a:xfrm>
            <a:off x="11507512" y="6364038"/>
            <a:ext cx="394471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fld id="{EAB91DC4-3975-794F-B8BB-6E50AC3E5273}" type="slidenum">
              <a:rPr lang="en-US" sz="1200" smtClean="0">
                <a:latin typeface="Montserrat Light" pitchFamily="2" charset="77"/>
                <a:ea typeface="Roboto Condensed"/>
                <a:cs typeface="Roboto Condensed"/>
                <a:sym typeface="Roboto Condensed"/>
              </a:rPr>
              <a:t>‹#›</a:t>
            </a:fld>
            <a:endParaRPr sz="1200">
              <a:latin typeface="Montserrat Light" pitchFamily="2" charset="77"/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45A1D158-E1AE-4223-2252-A6D00B186E0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0017" y="6594232"/>
            <a:ext cx="828582" cy="168306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AACBBF0E-23A4-9789-F28C-1F52ABD5CA9C}"/>
              </a:ext>
            </a:extLst>
          </p:cNvPr>
          <p:cNvSpPr/>
          <p:nvPr userDrawn="1"/>
        </p:nvSpPr>
        <p:spPr>
          <a:xfrm>
            <a:off x="919457" y="728871"/>
            <a:ext cx="1284137" cy="13389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C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767531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Headline+2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9572928F-FA5A-98EE-7B40-CF3D6F38E50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587624"/>
            <a:ext cx="3932237" cy="3281363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24996CDD-66D9-2C9E-4D27-548DA4E592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9788" y="987425"/>
            <a:ext cx="3932237" cy="160020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>
              <a:defRPr sz="2800"/>
            </a:lvl1pPr>
          </a:lstStyle>
          <a:p>
            <a:r>
              <a:rPr lang="en-GB"/>
              <a:t>Click here to add your title</a:t>
            </a:r>
            <a:endParaRPr lang="hu-HU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22319B6C-8F6D-4174-E246-09ECA7660D1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hu-HU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E1CBA4C-A7A0-1A87-E70F-8EC5E1ADFB92}"/>
              </a:ext>
            </a:extLst>
          </p:cNvPr>
          <p:cNvSpPr/>
          <p:nvPr userDrawn="1"/>
        </p:nvSpPr>
        <p:spPr>
          <a:xfrm>
            <a:off x="0" y="6498771"/>
            <a:ext cx="12192000" cy="359229"/>
          </a:xfrm>
          <a:prstGeom prst="rect">
            <a:avLst/>
          </a:prstGeom>
          <a:solidFill>
            <a:schemeClr val="tx1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Google Shape;519;p16">
            <a:extLst>
              <a:ext uri="{FF2B5EF4-FFF2-40B4-BE49-F238E27FC236}">
                <a16:creationId xmlns:a16="http://schemas.microsoft.com/office/drawing/2014/main" id="{4CE5273F-6AA8-A8C4-2651-B2B13927089E}"/>
              </a:ext>
            </a:extLst>
          </p:cNvPr>
          <p:cNvSpPr/>
          <p:nvPr userDrawn="1"/>
        </p:nvSpPr>
        <p:spPr>
          <a:xfrm>
            <a:off x="11431039" y="6226058"/>
            <a:ext cx="547419" cy="545425"/>
          </a:xfrm>
          <a:prstGeom prst="ellipse">
            <a:avLst/>
          </a:prstGeom>
          <a:solidFill>
            <a:schemeClr val="tx2"/>
          </a:solidFill>
          <a:ln>
            <a:noFill/>
          </a:ln>
          <a:effectLst>
            <a:outerShdw blurRad="50800" dist="38100" dir="8100000" algn="tr" rotWithShape="0">
              <a:prstClr val="black">
                <a:alpha val="10348"/>
              </a:prst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" name="Google Shape;423;p13">
            <a:extLst>
              <a:ext uri="{FF2B5EF4-FFF2-40B4-BE49-F238E27FC236}">
                <a16:creationId xmlns:a16="http://schemas.microsoft.com/office/drawing/2014/main" id="{07131324-644B-E6E1-3B54-A090E4FAB22F}"/>
              </a:ext>
            </a:extLst>
          </p:cNvPr>
          <p:cNvSpPr txBox="1"/>
          <p:nvPr userDrawn="1"/>
        </p:nvSpPr>
        <p:spPr>
          <a:xfrm>
            <a:off x="11507512" y="6364038"/>
            <a:ext cx="394471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fld id="{EAB91DC4-3975-794F-B8BB-6E50AC3E5273}" type="slidenum">
              <a:rPr lang="en-US" sz="1200" smtClean="0">
                <a:latin typeface="Montserrat Light" pitchFamily="2" charset="77"/>
                <a:ea typeface="Roboto Condensed"/>
                <a:cs typeface="Roboto Condensed"/>
                <a:sym typeface="Roboto Condensed"/>
              </a:rPr>
              <a:t>‹#›</a:t>
            </a:fld>
            <a:endParaRPr sz="1200">
              <a:latin typeface="Montserrat Light" pitchFamily="2" charset="77"/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EFD020D1-4199-6080-FEE3-CBBDF1042AE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0017" y="6594232"/>
            <a:ext cx="828582" cy="168306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080EF89B-317E-2B7D-327D-3643910CA3D8}"/>
              </a:ext>
            </a:extLst>
          </p:cNvPr>
          <p:cNvSpPr/>
          <p:nvPr userDrawn="1"/>
        </p:nvSpPr>
        <p:spPr>
          <a:xfrm>
            <a:off x="922799" y="853018"/>
            <a:ext cx="1284137" cy="13389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C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2347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597" userDrawn="1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ship Log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855BE13A-E600-BBCA-F22B-35F5FDFE11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40767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A2A790EE-3C50-2F27-BBAE-96BA9E141DB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2264" y="776941"/>
            <a:ext cx="3209008" cy="5166659"/>
          </a:xfrm>
          <a:prstGeom prst="rect">
            <a:avLst/>
          </a:prstGeom>
        </p:spPr>
        <p:txBody>
          <a:bodyPr rtlCol="0" anchor="t">
            <a:normAutofit/>
          </a:bodyPr>
          <a:lstStyle>
            <a:lvl1pPr>
              <a:defRPr sz="3200" spc="-20" baseline="0">
                <a:solidFill>
                  <a:schemeClr val="bg1"/>
                </a:solidFill>
              </a:defRPr>
            </a:lvl1pPr>
          </a:lstStyle>
          <a:p>
            <a:pPr rtl="0"/>
            <a:r>
              <a:rPr lang="en-GB"/>
              <a:t>Click here to add your title</a:t>
            </a:r>
            <a:endParaRPr lang="en-GB" noProof="0">
              <a:solidFill>
                <a:srgbClr val="FFFFFF"/>
              </a:solidFill>
            </a:endParaRPr>
          </a:p>
        </p:txBody>
      </p:sp>
      <p:sp>
        <p:nvSpPr>
          <p:cNvPr id="2" name="Picture Placeholder 12">
            <a:extLst>
              <a:ext uri="{FF2B5EF4-FFF2-40B4-BE49-F238E27FC236}">
                <a16:creationId xmlns:a16="http://schemas.microsoft.com/office/drawing/2014/main" id="{2DE54433-0969-DB69-E843-AEB9A0D78CC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719637" y="776940"/>
            <a:ext cx="2041382" cy="1481351"/>
          </a:xfrm>
        </p:spPr>
        <p:txBody>
          <a:bodyPr rtlCol="0" anchor="ctr"/>
          <a:lstStyle>
            <a:lvl1pPr marL="0" indent="0" algn="ctr">
              <a:buNone/>
              <a:defRPr/>
            </a:lvl1pPr>
          </a:lstStyle>
          <a:p>
            <a:pPr rtl="0"/>
            <a:r>
              <a:rPr lang="en-GB" noProof="0"/>
              <a:t>Click to add photo</a:t>
            </a:r>
          </a:p>
        </p:txBody>
      </p:sp>
      <p:sp>
        <p:nvSpPr>
          <p:cNvPr id="12" name="Picture Placeholder 12">
            <a:extLst>
              <a:ext uri="{FF2B5EF4-FFF2-40B4-BE49-F238E27FC236}">
                <a16:creationId xmlns:a16="http://schemas.microsoft.com/office/drawing/2014/main" id="{258225B6-6E48-07B1-F725-0EBFBCC73D9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7074910" y="776940"/>
            <a:ext cx="2041382" cy="1481351"/>
          </a:xfrm>
        </p:spPr>
        <p:txBody>
          <a:bodyPr rtlCol="0" anchor="ctr"/>
          <a:lstStyle>
            <a:lvl1pPr marL="0" indent="0" algn="ctr">
              <a:buNone/>
              <a:defRPr/>
            </a:lvl1pPr>
          </a:lstStyle>
          <a:p>
            <a:pPr rtl="0"/>
            <a:r>
              <a:rPr lang="en-GB" noProof="0"/>
              <a:t>Click to add photo</a:t>
            </a:r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1A3CDE04-5899-01F1-8BFE-FCB6FFC35549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9333200" y="776940"/>
            <a:ext cx="2041382" cy="1481351"/>
          </a:xfrm>
        </p:spPr>
        <p:txBody>
          <a:bodyPr rtlCol="0" anchor="ctr"/>
          <a:lstStyle>
            <a:lvl1pPr marL="0" indent="0" algn="ctr">
              <a:buNone/>
              <a:defRPr/>
            </a:lvl1pPr>
          </a:lstStyle>
          <a:p>
            <a:pPr rtl="0"/>
            <a:r>
              <a:rPr lang="en-GB" noProof="0"/>
              <a:t>Click to add photo</a:t>
            </a:r>
          </a:p>
        </p:txBody>
      </p:sp>
      <p:sp>
        <p:nvSpPr>
          <p:cNvPr id="20" name="Picture Placeholder 12">
            <a:extLst>
              <a:ext uri="{FF2B5EF4-FFF2-40B4-BE49-F238E27FC236}">
                <a16:creationId xmlns:a16="http://schemas.microsoft.com/office/drawing/2014/main" id="{30CB24DF-1DEE-0FE3-2EF8-2670F3F31D27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719637" y="4462249"/>
            <a:ext cx="2041382" cy="1481351"/>
          </a:xfrm>
        </p:spPr>
        <p:txBody>
          <a:bodyPr rtlCol="0" anchor="ctr"/>
          <a:lstStyle>
            <a:lvl1pPr marL="0" indent="0" algn="ctr">
              <a:buNone/>
              <a:defRPr/>
            </a:lvl1pPr>
          </a:lstStyle>
          <a:p>
            <a:pPr rtl="0"/>
            <a:r>
              <a:rPr lang="en-GB" noProof="0"/>
              <a:t>Click to add photo</a:t>
            </a:r>
          </a:p>
        </p:txBody>
      </p:sp>
      <p:sp>
        <p:nvSpPr>
          <p:cNvPr id="21" name="Picture Placeholder 12">
            <a:extLst>
              <a:ext uri="{FF2B5EF4-FFF2-40B4-BE49-F238E27FC236}">
                <a16:creationId xmlns:a16="http://schemas.microsoft.com/office/drawing/2014/main" id="{ED58C529-4E5D-470D-3007-1A449E5E1EB7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7074910" y="4462249"/>
            <a:ext cx="2041382" cy="1481351"/>
          </a:xfrm>
        </p:spPr>
        <p:txBody>
          <a:bodyPr rtlCol="0" anchor="ctr"/>
          <a:lstStyle>
            <a:lvl1pPr marL="0" indent="0" algn="ctr">
              <a:buNone/>
              <a:defRPr/>
            </a:lvl1pPr>
          </a:lstStyle>
          <a:p>
            <a:pPr rtl="0"/>
            <a:r>
              <a:rPr lang="en-GB" noProof="0"/>
              <a:t>Click to add photo</a:t>
            </a:r>
          </a:p>
        </p:txBody>
      </p:sp>
      <p:sp>
        <p:nvSpPr>
          <p:cNvPr id="22" name="Picture Placeholder 12">
            <a:extLst>
              <a:ext uri="{FF2B5EF4-FFF2-40B4-BE49-F238E27FC236}">
                <a16:creationId xmlns:a16="http://schemas.microsoft.com/office/drawing/2014/main" id="{95A5631F-6C55-BB4C-AE6B-AA4110C60705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9333200" y="4462249"/>
            <a:ext cx="2041382" cy="1481351"/>
          </a:xfrm>
        </p:spPr>
        <p:txBody>
          <a:bodyPr rtlCol="0" anchor="ctr"/>
          <a:lstStyle>
            <a:lvl1pPr marL="0" indent="0" algn="ctr">
              <a:buNone/>
              <a:defRPr/>
            </a:lvl1pPr>
          </a:lstStyle>
          <a:p>
            <a:pPr rtl="0"/>
            <a:r>
              <a:rPr lang="en-GB" noProof="0"/>
              <a:t>Click to add photo</a:t>
            </a:r>
          </a:p>
        </p:txBody>
      </p:sp>
      <p:sp>
        <p:nvSpPr>
          <p:cNvPr id="23" name="Picture Placeholder 12">
            <a:extLst>
              <a:ext uri="{FF2B5EF4-FFF2-40B4-BE49-F238E27FC236}">
                <a16:creationId xmlns:a16="http://schemas.microsoft.com/office/drawing/2014/main" id="{D14318B0-5D4A-C7D8-7502-F06BC6B2D6E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719637" y="2619594"/>
            <a:ext cx="2041382" cy="1481351"/>
          </a:xfrm>
        </p:spPr>
        <p:txBody>
          <a:bodyPr rtlCol="0" anchor="ctr"/>
          <a:lstStyle>
            <a:lvl1pPr marL="0" indent="0" algn="ctr">
              <a:buNone/>
              <a:defRPr/>
            </a:lvl1pPr>
          </a:lstStyle>
          <a:p>
            <a:pPr rtl="0"/>
            <a:r>
              <a:rPr lang="en-GB" noProof="0"/>
              <a:t>Click to add photo</a:t>
            </a:r>
          </a:p>
        </p:txBody>
      </p:sp>
      <p:sp>
        <p:nvSpPr>
          <p:cNvPr id="24" name="Picture Placeholder 12">
            <a:extLst>
              <a:ext uri="{FF2B5EF4-FFF2-40B4-BE49-F238E27FC236}">
                <a16:creationId xmlns:a16="http://schemas.microsoft.com/office/drawing/2014/main" id="{15C0E5BF-A38B-B5FF-4BB6-4CBA6B21848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7074910" y="2619594"/>
            <a:ext cx="2041382" cy="1481351"/>
          </a:xfrm>
        </p:spPr>
        <p:txBody>
          <a:bodyPr rtlCol="0" anchor="ctr"/>
          <a:lstStyle>
            <a:lvl1pPr marL="0" indent="0" algn="ctr">
              <a:buNone/>
              <a:defRPr/>
            </a:lvl1pPr>
          </a:lstStyle>
          <a:p>
            <a:pPr rtl="0"/>
            <a:r>
              <a:rPr lang="en-GB" noProof="0"/>
              <a:t>Click to add photo</a:t>
            </a:r>
          </a:p>
        </p:txBody>
      </p:sp>
      <p:sp>
        <p:nvSpPr>
          <p:cNvPr id="25" name="Picture Placeholder 12">
            <a:extLst>
              <a:ext uri="{FF2B5EF4-FFF2-40B4-BE49-F238E27FC236}">
                <a16:creationId xmlns:a16="http://schemas.microsoft.com/office/drawing/2014/main" id="{9A02AB5D-9F23-9125-82B1-14DE34F6CD68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333200" y="2619594"/>
            <a:ext cx="2041382" cy="1481351"/>
          </a:xfrm>
        </p:spPr>
        <p:txBody>
          <a:bodyPr rtlCol="0" anchor="ctr"/>
          <a:lstStyle>
            <a:lvl1pPr marL="0" indent="0" algn="ctr">
              <a:buNone/>
              <a:defRPr/>
            </a:lvl1pPr>
          </a:lstStyle>
          <a:p>
            <a:pPr rtl="0"/>
            <a:r>
              <a:rPr lang="en-GB" noProof="0"/>
              <a:t>Click to add photo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2646C9F-DE1A-E8CB-19E3-8C9CE7B7BB9A}"/>
              </a:ext>
            </a:extLst>
          </p:cNvPr>
          <p:cNvSpPr/>
          <p:nvPr userDrawn="1"/>
        </p:nvSpPr>
        <p:spPr>
          <a:xfrm>
            <a:off x="0" y="6498771"/>
            <a:ext cx="12192000" cy="359229"/>
          </a:xfrm>
          <a:prstGeom prst="rect">
            <a:avLst/>
          </a:prstGeom>
          <a:solidFill>
            <a:schemeClr val="bg2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2"/>
              </a:solidFill>
            </a:endParaRPr>
          </a:p>
        </p:txBody>
      </p:sp>
      <p:sp>
        <p:nvSpPr>
          <p:cNvPr id="8" name="Google Shape;519;p16">
            <a:extLst>
              <a:ext uri="{FF2B5EF4-FFF2-40B4-BE49-F238E27FC236}">
                <a16:creationId xmlns:a16="http://schemas.microsoft.com/office/drawing/2014/main" id="{E3A9DBED-12A4-5795-1ED3-EDA3D07E90E5}"/>
              </a:ext>
            </a:extLst>
          </p:cNvPr>
          <p:cNvSpPr/>
          <p:nvPr userDrawn="1"/>
        </p:nvSpPr>
        <p:spPr>
          <a:xfrm>
            <a:off x="11431039" y="6226058"/>
            <a:ext cx="547419" cy="545425"/>
          </a:xfrm>
          <a:prstGeom prst="ellipse">
            <a:avLst/>
          </a:prstGeom>
          <a:solidFill>
            <a:schemeClr val="tx2"/>
          </a:solidFill>
          <a:ln>
            <a:noFill/>
          </a:ln>
          <a:effectLst>
            <a:outerShdw blurRad="50800" dist="38100" dir="8100000" algn="tr" rotWithShape="0">
              <a:prstClr val="black">
                <a:alpha val="10348"/>
              </a:prst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DBFC0435-B032-C8D1-C99A-053E121F394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0017" y="6594232"/>
            <a:ext cx="828582" cy="168306"/>
          </a:xfrm>
          <a:prstGeom prst="rect">
            <a:avLst/>
          </a:prstGeom>
        </p:spPr>
      </p:pic>
      <p:sp>
        <p:nvSpPr>
          <p:cNvPr id="10" name="Google Shape;423;p13">
            <a:extLst>
              <a:ext uri="{FF2B5EF4-FFF2-40B4-BE49-F238E27FC236}">
                <a16:creationId xmlns:a16="http://schemas.microsoft.com/office/drawing/2014/main" id="{206A9213-540F-F35A-74D3-E4EFFBD20778}"/>
              </a:ext>
            </a:extLst>
          </p:cNvPr>
          <p:cNvSpPr txBox="1"/>
          <p:nvPr userDrawn="1"/>
        </p:nvSpPr>
        <p:spPr>
          <a:xfrm>
            <a:off x="11507512" y="6364038"/>
            <a:ext cx="394471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fld id="{EAB91DC4-3975-794F-B8BB-6E50AC3E5273}" type="slidenum">
              <a:rPr lang="en-US" sz="1200" smtClean="0">
                <a:latin typeface="Montserrat Light" pitchFamily="2" charset="77"/>
                <a:ea typeface="Roboto Condensed"/>
                <a:cs typeface="Roboto Condensed"/>
                <a:sym typeface="Roboto Condensed"/>
              </a:rPr>
              <a:t>‹#›</a:t>
            </a:fld>
            <a:endParaRPr sz="1200">
              <a:latin typeface="Montserrat Light" pitchFamily="2" charset="77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53CA8BB-524C-0FD0-DB0F-52EBEFFD7337}"/>
              </a:ext>
            </a:extLst>
          </p:cNvPr>
          <p:cNvSpPr/>
          <p:nvPr userDrawn="1"/>
        </p:nvSpPr>
        <p:spPr>
          <a:xfrm>
            <a:off x="589598" y="642625"/>
            <a:ext cx="1284137" cy="13389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C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6077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93" userDrawn="1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/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Rectangle 55">
            <a:extLst>
              <a:ext uri="{FF2B5EF4-FFF2-40B4-BE49-F238E27FC236}">
                <a16:creationId xmlns:a16="http://schemas.microsoft.com/office/drawing/2014/main" id="{D49B0A9A-B93A-C22E-964C-34A015A9AB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"/>
            <a:ext cx="12192000" cy="3429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6E5CE04-C121-2373-E7E4-45C22E1AEB4E}"/>
              </a:ext>
            </a:extLst>
          </p:cNvPr>
          <p:cNvSpPr txBox="1">
            <a:spLocks/>
          </p:cNvSpPr>
          <p:nvPr userDrawn="1"/>
        </p:nvSpPr>
        <p:spPr>
          <a:xfrm>
            <a:off x="810492" y="862770"/>
            <a:ext cx="10515600" cy="827918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/>
          </a:p>
        </p:txBody>
      </p:sp>
      <p:sp>
        <p:nvSpPr>
          <p:cNvPr id="8" name="Title Placeholder 7">
            <a:extLst>
              <a:ext uri="{FF2B5EF4-FFF2-40B4-BE49-F238E27FC236}">
                <a16:creationId xmlns:a16="http://schemas.microsoft.com/office/drawing/2014/main" id="{32F99EC6-1962-DADA-D52B-CCC28ECE83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862771"/>
            <a:ext cx="10515600" cy="64445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here to add your title</a:t>
            </a:r>
            <a:endParaRPr lang="hu-HU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184D420-0D5D-3D50-05EE-C913B7865A84}"/>
              </a:ext>
            </a:extLst>
          </p:cNvPr>
          <p:cNvSpPr/>
          <p:nvPr userDrawn="1"/>
        </p:nvSpPr>
        <p:spPr>
          <a:xfrm>
            <a:off x="913448" y="728871"/>
            <a:ext cx="1284137" cy="13389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C000"/>
              </a:solidFill>
            </a:endParaRPr>
          </a:p>
        </p:txBody>
      </p:sp>
      <p:sp>
        <p:nvSpPr>
          <p:cNvPr id="4" name="Picture Placeholder 27">
            <a:extLst>
              <a:ext uri="{FF2B5EF4-FFF2-40B4-BE49-F238E27FC236}">
                <a16:creationId xmlns:a16="http://schemas.microsoft.com/office/drawing/2014/main" id="{E9C29263-604D-2D36-FE35-5A859CB82B9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314200" y="2648572"/>
            <a:ext cx="1560858" cy="1560856"/>
          </a:xfrm>
          <a:custGeom>
            <a:avLst/>
            <a:gdLst>
              <a:gd name="connsiteX0" fmla="*/ 1877652 w 3755304"/>
              <a:gd name="connsiteY0" fmla="*/ 0 h 3755300"/>
              <a:gd name="connsiteX1" fmla="*/ 3755304 w 3755304"/>
              <a:gd name="connsiteY1" fmla="*/ 1877650 h 3755300"/>
              <a:gd name="connsiteX2" fmla="*/ 1877652 w 3755304"/>
              <a:gd name="connsiteY2" fmla="*/ 3755300 h 3755300"/>
              <a:gd name="connsiteX3" fmla="*/ 0 w 3755304"/>
              <a:gd name="connsiteY3" fmla="*/ 1877650 h 3755300"/>
              <a:gd name="connsiteX4" fmla="*/ 1877652 w 3755304"/>
              <a:gd name="connsiteY4" fmla="*/ 0 h 375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55304" h="3755300">
                <a:moveTo>
                  <a:pt x="1877652" y="0"/>
                </a:moveTo>
                <a:cubicBezTo>
                  <a:pt x="2914651" y="0"/>
                  <a:pt x="3755304" y="840653"/>
                  <a:pt x="3755304" y="1877650"/>
                </a:cubicBezTo>
                <a:cubicBezTo>
                  <a:pt x="3755304" y="2914647"/>
                  <a:pt x="2914651" y="3755300"/>
                  <a:pt x="1877652" y="3755300"/>
                </a:cubicBezTo>
                <a:cubicBezTo>
                  <a:pt x="840653" y="3755300"/>
                  <a:pt x="0" y="2914647"/>
                  <a:pt x="0" y="1877650"/>
                </a:cubicBezTo>
                <a:cubicBezTo>
                  <a:pt x="0" y="840653"/>
                  <a:pt x="840653" y="0"/>
                  <a:pt x="1877652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  <a:p>
            <a:r>
              <a:rPr lang="en-US"/>
              <a:t>Add icon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63EB95E4-32F7-F1AD-3543-8BA7E8D032D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965927" y="4409572"/>
            <a:ext cx="2257404" cy="35922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1800" b="0" cap="none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Add title</a:t>
            </a:r>
          </a:p>
        </p:txBody>
      </p:sp>
      <p:sp>
        <p:nvSpPr>
          <p:cNvPr id="10" name="Picture Placeholder 27">
            <a:extLst>
              <a:ext uri="{FF2B5EF4-FFF2-40B4-BE49-F238E27FC236}">
                <a16:creationId xmlns:a16="http://schemas.microsoft.com/office/drawing/2014/main" id="{83B40E9F-DE8B-BE44-FED4-16C5F77F3FF0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3973830" y="2648572"/>
            <a:ext cx="1560858" cy="1560856"/>
          </a:xfrm>
          <a:custGeom>
            <a:avLst/>
            <a:gdLst>
              <a:gd name="connsiteX0" fmla="*/ 1877652 w 3755304"/>
              <a:gd name="connsiteY0" fmla="*/ 0 h 3755300"/>
              <a:gd name="connsiteX1" fmla="*/ 3755304 w 3755304"/>
              <a:gd name="connsiteY1" fmla="*/ 1877650 h 3755300"/>
              <a:gd name="connsiteX2" fmla="*/ 1877652 w 3755304"/>
              <a:gd name="connsiteY2" fmla="*/ 3755300 h 3755300"/>
              <a:gd name="connsiteX3" fmla="*/ 0 w 3755304"/>
              <a:gd name="connsiteY3" fmla="*/ 1877650 h 3755300"/>
              <a:gd name="connsiteX4" fmla="*/ 1877652 w 3755304"/>
              <a:gd name="connsiteY4" fmla="*/ 0 h 375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55304" h="3755300">
                <a:moveTo>
                  <a:pt x="1877652" y="0"/>
                </a:moveTo>
                <a:cubicBezTo>
                  <a:pt x="2914651" y="0"/>
                  <a:pt x="3755304" y="840653"/>
                  <a:pt x="3755304" y="1877650"/>
                </a:cubicBezTo>
                <a:cubicBezTo>
                  <a:pt x="3755304" y="2914647"/>
                  <a:pt x="2914651" y="3755300"/>
                  <a:pt x="1877652" y="3755300"/>
                </a:cubicBezTo>
                <a:cubicBezTo>
                  <a:pt x="840653" y="3755300"/>
                  <a:pt x="0" y="2914647"/>
                  <a:pt x="0" y="1877650"/>
                </a:cubicBezTo>
                <a:cubicBezTo>
                  <a:pt x="0" y="840653"/>
                  <a:pt x="840653" y="0"/>
                  <a:pt x="1877652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  <a:p>
            <a:r>
              <a:rPr lang="en-US"/>
              <a:t>Add icon</a:t>
            </a:r>
          </a:p>
        </p:txBody>
      </p:sp>
      <p:sp>
        <p:nvSpPr>
          <p:cNvPr id="14" name="Picture Placeholder 27">
            <a:extLst>
              <a:ext uri="{FF2B5EF4-FFF2-40B4-BE49-F238E27FC236}">
                <a16:creationId xmlns:a16="http://schemas.microsoft.com/office/drawing/2014/main" id="{B016A6E1-B877-ED40-C5F1-2E1EB0D0229E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6633460" y="2648572"/>
            <a:ext cx="1560858" cy="1560856"/>
          </a:xfrm>
          <a:custGeom>
            <a:avLst/>
            <a:gdLst>
              <a:gd name="connsiteX0" fmla="*/ 1877652 w 3755304"/>
              <a:gd name="connsiteY0" fmla="*/ 0 h 3755300"/>
              <a:gd name="connsiteX1" fmla="*/ 3755304 w 3755304"/>
              <a:gd name="connsiteY1" fmla="*/ 1877650 h 3755300"/>
              <a:gd name="connsiteX2" fmla="*/ 1877652 w 3755304"/>
              <a:gd name="connsiteY2" fmla="*/ 3755300 h 3755300"/>
              <a:gd name="connsiteX3" fmla="*/ 0 w 3755304"/>
              <a:gd name="connsiteY3" fmla="*/ 1877650 h 3755300"/>
              <a:gd name="connsiteX4" fmla="*/ 1877652 w 3755304"/>
              <a:gd name="connsiteY4" fmla="*/ 0 h 375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55304" h="3755300">
                <a:moveTo>
                  <a:pt x="1877652" y="0"/>
                </a:moveTo>
                <a:cubicBezTo>
                  <a:pt x="2914651" y="0"/>
                  <a:pt x="3755304" y="840653"/>
                  <a:pt x="3755304" y="1877650"/>
                </a:cubicBezTo>
                <a:cubicBezTo>
                  <a:pt x="3755304" y="2914647"/>
                  <a:pt x="2914651" y="3755300"/>
                  <a:pt x="1877652" y="3755300"/>
                </a:cubicBezTo>
                <a:cubicBezTo>
                  <a:pt x="840653" y="3755300"/>
                  <a:pt x="0" y="2914647"/>
                  <a:pt x="0" y="1877650"/>
                </a:cubicBezTo>
                <a:cubicBezTo>
                  <a:pt x="0" y="840653"/>
                  <a:pt x="840653" y="0"/>
                  <a:pt x="1877652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  <a:p>
            <a:r>
              <a:rPr lang="en-US"/>
              <a:t>Add icon</a:t>
            </a:r>
          </a:p>
        </p:txBody>
      </p:sp>
      <p:sp>
        <p:nvSpPr>
          <p:cNvPr id="18" name="Picture Placeholder 27">
            <a:extLst>
              <a:ext uri="{FF2B5EF4-FFF2-40B4-BE49-F238E27FC236}">
                <a16:creationId xmlns:a16="http://schemas.microsoft.com/office/drawing/2014/main" id="{307800ED-F777-CF5B-1133-70ADA64B3304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9293090" y="2648572"/>
            <a:ext cx="1560858" cy="1560856"/>
          </a:xfrm>
          <a:custGeom>
            <a:avLst/>
            <a:gdLst>
              <a:gd name="connsiteX0" fmla="*/ 1877652 w 3755304"/>
              <a:gd name="connsiteY0" fmla="*/ 0 h 3755300"/>
              <a:gd name="connsiteX1" fmla="*/ 3755304 w 3755304"/>
              <a:gd name="connsiteY1" fmla="*/ 1877650 h 3755300"/>
              <a:gd name="connsiteX2" fmla="*/ 1877652 w 3755304"/>
              <a:gd name="connsiteY2" fmla="*/ 3755300 h 3755300"/>
              <a:gd name="connsiteX3" fmla="*/ 0 w 3755304"/>
              <a:gd name="connsiteY3" fmla="*/ 1877650 h 3755300"/>
              <a:gd name="connsiteX4" fmla="*/ 1877652 w 3755304"/>
              <a:gd name="connsiteY4" fmla="*/ 0 h 375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55304" h="3755300">
                <a:moveTo>
                  <a:pt x="1877652" y="0"/>
                </a:moveTo>
                <a:cubicBezTo>
                  <a:pt x="2914651" y="0"/>
                  <a:pt x="3755304" y="840653"/>
                  <a:pt x="3755304" y="1877650"/>
                </a:cubicBezTo>
                <a:cubicBezTo>
                  <a:pt x="3755304" y="2914647"/>
                  <a:pt x="2914651" y="3755300"/>
                  <a:pt x="1877652" y="3755300"/>
                </a:cubicBezTo>
                <a:cubicBezTo>
                  <a:pt x="840653" y="3755300"/>
                  <a:pt x="0" y="2914647"/>
                  <a:pt x="0" y="1877650"/>
                </a:cubicBezTo>
                <a:cubicBezTo>
                  <a:pt x="0" y="840653"/>
                  <a:pt x="840653" y="0"/>
                  <a:pt x="1877652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  <a:p>
            <a:r>
              <a:rPr lang="en-US"/>
              <a:t>Add ic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3B4A26C-A50C-6B4B-4112-A9C00BC55469}"/>
              </a:ext>
            </a:extLst>
          </p:cNvPr>
          <p:cNvSpPr/>
          <p:nvPr userDrawn="1"/>
        </p:nvSpPr>
        <p:spPr>
          <a:xfrm>
            <a:off x="0" y="6498771"/>
            <a:ext cx="12192000" cy="359229"/>
          </a:xfrm>
          <a:prstGeom prst="rect">
            <a:avLst/>
          </a:prstGeom>
          <a:solidFill>
            <a:schemeClr val="tx1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Google Shape;519;p16">
            <a:extLst>
              <a:ext uri="{FF2B5EF4-FFF2-40B4-BE49-F238E27FC236}">
                <a16:creationId xmlns:a16="http://schemas.microsoft.com/office/drawing/2014/main" id="{EFD02F8E-590F-6907-3DBE-DA04F82FAB61}"/>
              </a:ext>
            </a:extLst>
          </p:cNvPr>
          <p:cNvSpPr/>
          <p:nvPr userDrawn="1"/>
        </p:nvSpPr>
        <p:spPr>
          <a:xfrm>
            <a:off x="11431039" y="6226058"/>
            <a:ext cx="547419" cy="545425"/>
          </a:xfrm>
          <a:prstGeom prst="ellipse">
            <a:avLst/>
          </a:prstGeom>
          <a:solidFill>
            <a:schemeClr val="tx2"/>
          </a:solidFill>
          <a:ln>
            <a:noFill/>
          </a:ln>
          <a:effectLst>
            <a:outerShdw blurRad="50800" dist="38100" dir="8100000" algn="tr" rotWithShape="0">
              <a:prstClr val="black">
                <a:alpha val="10348"/>
              </a:prst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" name="Google Shape;423;p13">
            <a:extLst>
              <a:ext uri="{FF2B5EF4-FFF2-40B4-BE49-F238E27FC236}">
                <a16:creationId xmlns:a16="http://schemas.microsoft.com/office/drawing/2014/main" id="{D39BDF0D-D0CE-E387-05BC-090D7A7CF454}"/>
              </a:ext>
            </a:extLst>
          </p:cNvPr>
          <p:cNvSpPr txBox="1"/>
          <p:nvPr userDrawn="1"/>
        </p:nvSpPr>
        <p:spPr>
          <a:xfrm>
            <a:off x="11507512" y="6364038"/>
            <a:ext cx="394471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fld id="{EAB91DC4-3975-794F-B8BB-6E50AC3E5273}" type="slidenum">
              <a:rPr lang="en-US" sz="1200" smtClean="0">
                <a:latin typeface="Montserrat Light" pitchFamily="2" charset="77"/>
                <a:ea typeface="Roboto Condensed"/>
                <a:cs typeface="Roboto Condensed"/>
                <a:sym typeface="Roboto Condensed"/>
              </a:rPr>
              <a:t>‹#›</a:t>
            </a:fld>
            <a:endParaRPr sz="1200">
              <a:latin typeface="Montserrat Light" pitchFamily="2" charset="77"/>
            </a:endParaRP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6DA1E31E-2525-4264-627E-91CD2CD94C6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0017" y="6594232"/>
            <a:ext cx="828582" cy="168306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E19B0E3-513C-F620-7A12-ECC964E90248}"/>
              </a:ext>
            </a:extLst>
          </p:cNvPr>
          <p:cNvSpPr>
            <a:spLocks noGrp="1"/>
          </p:cNvSpPr>
          <p:nvPr>
            <p:ph type="body" idx="41" hasCustomPrompt="1"/>
          </p:nvPr>
        </p:nvSpPr>
        <p:spPr>
          <a:xfrm>
            <a:off x="3625557" y="4409571"/>
            <a:ext cx="2257404" cy="35922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1800" b="0" cap="none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Add title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39E2D8F2-361D-4B02-713B-9B7E01F2694F}"/>
              </a:ext>
            </a:extLst>
          </p:cNvPr>
          <p:cNvSpPr>
            <a:spLocks noGrp="1"/>
          </p:cNvSpPr>
          <p:nvPr>
            <p:ph type="body" idx="42" hasCustomPrompt="1"/>
          </p:nvPr>
        </p:nvSpPr>
        <p:spPr>
          <a:xfrm>
            <a:off x="6285187" y="4414558"/>
            <a:ext cx="2257404" cy="35922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1800" b="0" cap="none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Add title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C867B756-DE04-A244-D7B0-B0FBC684127A}"/>
              </a:ext>
            </a:extLst>
          </p:cNvPr>
          <p:cNvSpPr>
            <a:spLocks noGrp="1"/>
          </p:cNvSpPr>
          <p:nvPr>
            <p:ph type="body" idx="43" hasCustomPrompt="1"/>
          </p:nvPr>
        </p:nvSpPr>
        <p:spPr>
          <a:xfrm>
            <a:off x="8944817" y="4409572"/>
            <a:ext cx="2257404" cy="35922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1800" b="0" cap="none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Add title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BCDE6ED9-A147-D5E4-5AA1-284E43903E76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965927" y="4828784"/>
            <a:ext cx="2257404" cy="1397274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1400" b="0" cap="none" baseline="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40A9D653-F13A-9CA9-8033-6F206B3CE87E}"/>
              </a:ext>
            </a:extLst>
          </p:cNvPr>
          <p:cNvSpPr>
            <a:spLocks noGrp="1"/>
          </p:cNvSpPr>
          <p:nvPr>
            <p:ph type="body" idx="44" hasCustomPrompt="1"/>
          </p:nvPr>
        </p:nvSpPr>
        <p:spPr>
          <a:xfrm>
            <a:off x="3622913" y="4828784"/>
            <a:ext cx="2257404" cy="1397274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1400" b="0" cap="none" baseline="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322A9FFF-2808-E0EF-39C9-519B91E6EFFE}"/>
              </a:ext>
            </a:extLst>
          </p:cNvPr>
          <p:cNvSpPr>
            <a:spLocks noGrp="1"/>
          </p:cNvSpPr>
          <p:nvPr>
            <p:ph type="body" idx="45" hasCustomPrompt="1"/>
          </p:nvPr>
        </p:nvSpPr>
        <p:spPr>
          <a:xfrm>
            <a:off x="6286206" y="4828784"/>
            <a:ext cx="2257404" cy="1397274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1400" b="0" cap="none" baseline="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Add text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4A19EA07-69C9-DFAD-2349-75908FF29B4F}"/>
              </a:ext>
            </a:extLst>
          </p:cNvPr>
          <p:cNvSpPr>
            <a:spLocks noGrp="1"/>
          </p:cNvSpPr>
          <p:nvPr>
            <p:ph type="body" idx="46" hasCustomPrompt="1"/>
          </p:nvPr>
        </p:nvSpPr>
        <p:spPr>
          <a:xfrm>
            <a:off x="8944817" y="4828784"/>
            <a:ext cx="2257404" cy="1397274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1400" b="0" cap="none" baseline="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24190668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597" userDrawn="1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6ADC9947-3DF0-F586-7F5A-5EE459D68B43}"/>
              </a:ext>
            </a:extLst>
          </p:cNvPr>
          <p:cNvSpPr/>
          <p:nvPr userDrawn="1"/>
        </p:nvSpPr>
        <p:spPr>
          <a:xfrm>
            <a:off x="0" y="6498771"/>
            <a:ext cx="12192000" cy="359229"/>
          </a:xfrm>
          <a:prstGeom prst="rect">
            <a:avLst/>
          </a:prstGeom>
          <a:solidFill>
            <a:schemeClr val="tx1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Google Shape;519;p16">
            <a:extLst>
              <a:ext uri="{FF2B5EF4-FFF2-40B4-BE49-F238E27FC236}">
                <a16:creationId xmlns:a16="http://schemas.microsoft.com/office/drawing/2014/main" id="{EADA8F55-1A4D-4D1B-B418-8AA7D9509880}"/>
              </a:ext>
            </a:extLst>
          </p:cNvPr>
          <p:cNvSpPr/>
          <p:nvPr userDrawn="1"/>
        </p:nvSpPr>
        <p:spPr>
          <a:xfrm>
            <a:off x="11431039" y="6226058"/>
            <a:ext cx="547419" cy="545425"/>
          </a:xfrm>
          <a:prstGeom prst="ellipse">
            <a:avLst/>
          </a:prstGeom>
          <a:solidFill>
            <a:schemeClr val="tx2"/>
          </a:solidFill>
          <a:ln>
            <a:noFill/>
          </a:ln>
          <a:effectLst>
            <a:outerShdw blurRad="50800" dist="38100" dir="8100000" algn="tr" rotWithShape="0">
              <a:prstClr val="black">
                <a:alpha val="10348"/>
              </a:prst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" name="Google Shape;423;p13">
            <a:extLst>
              <a:ext uri="{FF2B5EF4-FFF2-40B4-BE49-F238E27FC236}">
                <a16:creationId xmlns:a16="http://schemas.microsoft.com/office/drawing/2014/main" id="{F1D242C7-B874-4AED-ACE6-E2C23D4E262E}"/>
              </a:ext>
            </a:extLst>
          </p:cNvPr>
          <p:cNvSpPr txBox="1"/>
          <p:nvPr userDrawn="1"/>
        </p:nvSpPr>
        <p:spPr>
          <a:xfrm>
            <a:off x="11507512" y="6364038"/>
            <a:ext cx="394471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fld id="{EAB91DC4-3975-794F-B8BB-6E50AC3E5273}" type="slidenum">
              <a:rPr lang="en-US" sz="1200" smtClean="0">
                <a:latin typeface="Montserrat Light" pitchFamily="2" charset="77"/>
                <a:ea typeface="Roboto Condensed"/>
                <a:cs typeface="Roboto Condensed"/>
                <a:sym typeface="Roboto Condensed"/>
              </a:rPr>
              <a:t>‹#›</a:t>
            </a:fld>
            <a:endParaRPr sz="1200">
              <a:latin typeface="Montserrat Light" pitchFamily="2" charset="77"/>
            </a:endParaRP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7C2F694-7FE4-4750-DB0E-9610BEB98DC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0017" y="6594232"/>
            <a:ext cx="828582" cy="168306"/>
          </a:xfrm>
          <a:prstGeom prst="rect">
            <a:avLst/>
          </a:prstGeom>
        </p:spPr>
      </p:pic>
      <p:sp>
        <p:nvSpPr>
          <p:cNvPr id="2" name="Title Placeholder 7">
            <a:extLst>
              <a:ext uri="{FF2B5EF4-FFF2-40B4-BE49-F238E27FC236}">
                <a16:creationId xmlns:a16="http://schemas.microsoft.com/office/drawing/2014/main" id="{CCC3ED54-3B0C-E2EC-13AF-78889EE853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862771"/>
            <a:ext cx="10515600" cy="64445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GB"/>
              <a:t>Click here to add your title</a:t>
            </a:r>
            <a:endParaRPr lang="hu-HU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BFB3410-3033-5839-ADC3-160895D54F3C}"/>
              </a:ext>
            </a:extLst>
          </p:cNvPr>
          <p:cNvSpPr/>
          <p:nvPr userDrawn="1"/>
        </p:nvSpPr>
        <p:spPr>
          <a:xfrm>
            <a:off x="919457" y="728871"/>
            <a:ext cx="1284137" cy="13389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C000"/>
              </a:solidFill>
            </a:endParaRPr>
          </a:p>
        </p:txBody>
      </p:sp>
      <p:sp>
        <p:nvSpPr>
          <p:cNvPr id="8" name="Picture Placeholder 27">
            <a:extLst>
              <a:ext uri="{FF2B5EF4-FFF2-40B4-BE49-F238E27FC236}">
                <a16:creationId xmlns:a16="http://schemas.microsoft.com/office/drawing/2014/main" id="{A0970E10-DD3F-7BA6-4AC4-B328B858E46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2243325" y="1795856"/>
            <a:ext cx="1141995" cy="1141993"/>
          </a:xfrm>
          <a:custGeom>
            <a:avLst/>
            <a:gdLst>
              <a:gd name="connsiteX0" fmla="*/ 1877652 w 3755304"/>
              <a:gd name="connsiteY0" fmla="*/ 0 h 3755300"/>
              <a:gd name="connsiteX1" fmla="*/ 3755304 w 3755304"/>
              <a:gd name="connsiteY1" fmla="*/ 1877650 h 3755300"/>
              <a:gd name="connsiteX2" fmla="*/ 1877652 w 3755304"/>
              <a:gd name="connsiteY2" fmla="*/ 3755300 h 3755300"/>
              <a:gd name="connsiteX3" fmla="*/ 0 w 3755304"/>
              <a:gd name="connsiteY3" fmla="*/ 1877650 h 3755300"/>
              <a:gd name="connsiteX4" fmla="*/ 1877652 w 3755304"/>
              <a:gd name="connsiteY4" fmla="*/ 0 h 375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55304" h="3755300">
                <a:moveTo>
                  <a:pt x="1877652" y="0"/>
                </a:moveTo>
                <a:cubicBezTo>
                  <a:pt x="2914651" y="0"/>
                  <a:pt x="3755304" y="840653"/>
                  <a:pt x="3755304" y="1877650"/>
                </a:cubicBezTo>
                <a:cubicBezTo>
                  <a:pt x="3755304" y="2914647"/>
                  <a:pt x="2914651" y="3755300"/>
                  <a:pt x="1877652" y="3755300"/>
                </a:cubicBezTo>
                <a:cubicBezTo>
                  <a:pt x="840653" y="3755300"/>
                  <a:pt x="0" y="2914647"/>
                  <a:pt x="0" y="1877650"/>
                </a:cubicBezTo>
                <a:cubicBezTo>
                  <a:pt x="0" y="840653"/>
                  <a:pt x="840653" y="0"/>
                  <a:pt x="1877652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to add </a:t>
            </a:r>
          </a:p>
          <a:p>
            <a:r>
              <a:rPr lang="en-US"/>
              <a:t>pictur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41F7E4E5-F8F7-47A2-B68C-B028B29D032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983007" y="3019954"/>
            <a:ext cx="1651621" cy="488034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="0" cap="none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Nam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504E952-9B8B-8462-6F17-BFD682640CAD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1983007" y="3577920"/>
            <a:ext cx="1651621" cy="202781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Position</a:t>
            </a:r>
          </a:p>
        </p:txBody>
      </p:sp>
      <p:sp>
        <p:nvSpPr>
          <p:cNvPr id="11" name="Picture Placeholder 27">
            <a:extLst>
              <a:ext uri="{FF2B5EF4-FFF2-40B4-BE49-F238E27FC236}">
                <a16:creationId xmlns:a16="http://schemas.microsoft.com/office/drawing/2014/main" id="{8C021DE4-D27C-4057-8B49-41D7B60D36C2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4373339" y="1795856"/>
            <a:ext cx="1141995" cy="1141993"/>
          </a:xfrm>
          <a:custGeom>
            <a:avLst/>
            <a:gdLst>
              <a:gd name="connsiteX0" fmla="*/ 1877652 w 3755304"/>
              <a:gd name="connsiteY0" fmla="*/ 0 h 3755300"/>
              <a:gd name="connsiteX1" fmla="*/ 3755304 w 3755304"/>
              <a:gd name="connsiteY1" fmla="*/ 1877650 h 3755300"/>
              <a:gd name="connsiteX2" fmla="*/ 1877652 w 3755304"/>
              <a:gd name="connsiteY2" fmla="*/ 3755300 h 3755300"/>
              <a:gd name="connsiteX3" fmla="*/ 0 w 3755304"/>
              <a:gd name="connsiteY3" fmla="*/ 1877650 h 3755300"/>
              <a:gd name="connsiteX4" fmla="*/ 1877652 w 3755304"/>
              <a:gd name="connsiteY4" fmla="*/ 0 h 375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55304" h="3755300">
                <a:moveTo>
                  <a:pt x="1877652" y="0"/>
                </a:moveTo>
                <a:cubicBezTo>
                  <a:pt x="2914651" y="0"/>
                  <a:pt x="3755304" y="840653"/>
                  <a:pt x="3755304" y="1877650"/>
                </a:cubicBezTo>
                <a:cubicBezTo>
                  <a:pt x="3755304" y="2914647"/>
                  <a:pt x="2914651" y="3755300"/>
                  <a:pt x="1877652" y="3755300"/>
                </a:cubicBezTo>
                <a:cubicBezTo>
                  <a:pt x="840653" y="3755300"/>
                  <a:pt x="0" y="2914647"/>
                  <a:pt x="0" y="1877650"/>
                </a:cubicBezTo>
                <a:cubicBezTo>
                  <a:pt x="0" y="840653"/>
                  <a:pt x="840653" y="0"/>
                  <a:pt x="1877652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to add </a:t>
            </a:r>
          </a:p>
          <a:p>
            <a:r>
              <a:rPr lang="en-US"/>
              <a:t>pictur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9D7C2843-AD53-82C5-C5CB-2B2D47249436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4113021" y="3019954"/>
            <a:ext cx="1651621" cy="488034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="0" cap="none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Nam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DA24FB32-8259-8448-2353-CDD134FA97DC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4113021" y="3577920"/>
            <a:ext cx="1651621" cy="202781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Position</a:t>
            </a:r>
          </a:p>
        </p:txBody>
      </p:sp>
      <p:sp>
        <p:nvSpPr>
          <p:cNvPr id="14" name="Picture Placeholder 27">
            <a:extLst>
              <a:ext uri="{FF2B5EF4-FFF2-40B4-BE49-F238E27FC236}">
                <a16:creationId xmlns:a16="http://schemas.microsoft.com/office/drawing/2014/main" id="{4B62EF27-48EC-B5A8-6D76-6B38D51B8081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6497847" y="1795856"/>
            <a:ext cx="1141995" cy="1141993"/>
          </a:xfrm>
          <a:custGeom>
            <a:avLst/>
            <a:gdLst>
              <a:gd name="connsiteX0" fmla="*/ 1877652 w 3755304"/>
              <a:gd name="connsiteY0" fmla="*/ 0 h 3755300"/>
              <a:gd name="connsiteX1" fmla="*/ 3755304 w 3755304"/>
              <a:gd name="connsiteY1" fmla="*/ 1877650 h 3755300"/>
              <a:gd name="connsiteX2" fmla="*/ 1877652 w 3755304"/>
              <a:gd name="connsiteY2" fmla="*/ 3755300 h 3755300"/>
              <a:gd name="connsiteX3" fmla="*/ 0 w 3755304"/>
              <a:gd name="connsiteY3" fmla="*/ 1877650 h 3755300"/>
              <a:gd name="connsiteX4" fmla="*/ 1877652 w 3755304"/>
              <a:gd name="connsiteY4" fmla="*/ 0 h 375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55304" h="3755300">
                <a:moveTo>
                  <a:pt x="1877652" y="0"/>
                </a:moveTo>
                <a:cubicBezTo>
                  <a:pt x="2914651" y="0"/>
                  <a:pt x="3755304" y="840653"/>
                  <a:pt x="3755304" y="1877650"/>
                </a:cubicBezTo>
                <a:cubicBezTo>
                  <a:pt x="3755304" y="2914647"/>
                  <a:pt x="2914651" y="3755300"/>
                  <a:pt x="1877652" y="3755300"/>
                </a:cubicBezTo>
                <a:cubicBezTo>
                  <a:pt x="840653" y="3755300"/>
                  <a:pt x="0" y="2914647"/>
                  <a:pt x="0" y="1877650"/>
                </a:cubicBezTo>
                <a:cubicBezTo>
                  <a:pt x="0" y="840653"/>
                  <a:pt x="840653" y="0"/>
                  <a:pt x="1877652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to add </a:t>
            </a:r>
          </a:p>
          <a:p>
            <a:r>
              <a:rPr lang="en-US"/>
              <a:t>picture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0A12E654-C334-7161-668F-0FC81283A43D}"/>
              </a:ext>
            </a:extLst>
          </p:cNvPr>
          <p:cNvSpPr>
            <a:spLocks noGrp="1"/>
          </p:cNvSpPr>
          <p:nvPr>
            <p:ph type="body" idx="29" hasCustomPrompt="1"/>
          </p:nvPr>
        </p:nvSpPr>
        <p:spPr>
          <a:xfrm>
            <a:off x="6243035" y="3019954"/>
            <a:ext cx="1651621" cy="488034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="0" cap="none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Name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7D34E455-2C46-4DA9-DDED-3CE76B239BDD}"/>
              </a:ext>
            </a:extLst>
          </p:cNvPr>
          <p:cNvSpPr>
            <a:spLocks noGrp="1"/>
          </p:cNvSpPr>
          <p:nvPr>
            <p:ph type="body" idx="30" hasCustomPrompt="1"/>
          </p:nvPr>
        </p:nvSpPr>
        <p:spPr>
          <a:xfrm>
            <a:off x="6243035" y="3577920"/>
            <a:ext cx="1651621" cy="202781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Position</a:t>
            </a:r>
          </a:p>
        </p:txBody>
      </p:sp>
      <p:sp>
        <p:nvSpPr>
          <p:cNvPr id="17" name="Picture Placeholder 27">
            <a:extLst>
              <a:ext uri="{FF2B5EF4-FFF2-40B4-BE49-F238E27FC236}">
                <a16:creationId xmlns:a16="http://schemas.microsoft.com/office/drawing/2014/main" id="{C699377C-3E55-A025-2E8D-D543476F7862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8622355" y="1795856"/>
            <a:ext cx="1141995" cy="1141993"/>
          </a:xfrm>
          <a:custGeom>
            <a:avLst/>
            <a:gdLst>
              <a:gd name="connsiteX0" fmla="*/ 1877652 w 3755304"/>
              <a:gd name="connsiteY0" fmla="*/ 0 h 3755300"/>
              <a:gd name="connsiteX1" fmla="*/ 3755304 w 3755304"/>
              <a:gd name="connsiteY1" fmla="*/ 1877650 h 3755300"/>
              <a:gd name="connsiteX2" fmla="*/ 1877652 w 3755304"/>
              <a:gd name="connsiteY2" fmla="*/ 3755300 h 3755300"/>
              <a:gd name="connsiteX3" fmla="*/ 0 w 3755304"/>
              <a:gd name="connsiteY3" fmla="*/ 1877650 h 3755300"/>
              <a:gd name="connsiteX4" fmla="*/ 1877652 w 3755304"/>
              <a:gd name="connsiteY4" fmla="*/ 0 h 375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55304" h="3755300">
                <a:moveTo>
                  <a:pt x="1877652" y="0"/>
                </a:moveTo>
                <a:cubicBezTo>
                  <a:pt x="2914651" y="0"/>
                  <a:pt x="3755304" y="840653"/>
                  <a:pt x="3755304" y="1877650"/>
                </a:cubicBezTo>
                <a:cubicBezTo>
                  <a:pt x="3755304" y="2914647"/>
                  <a:pt x="2914651" y="3755300"/>
                  <a:pt x="1877652" y="3755300"/>
                </a:cubicBezTo>
                <a:cubicBezTo>
                  <a:pt x="840653" y="3755300"/>
                  <a:pt x="0" y="2914647"/>
                  <a:pt x="0" y="1877650"/>
                </a:cubicBezTo>
                <a:cubicBezTo>
                  <a:pt x="0" y="840653"/>
                  <a:pt x="840653" y="0"/>
                  <a:pt x="1877652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to add </a:t>
            </a:r>
          </a:p>
          <a:p>
            <a:r>
              <a:rPr lang="en-US"/>
              <a:t>picture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8BF9AB0A-6933-A3C5-EB57-FEC90443AFF6}"/>
              </a:ext>
            </a:extLst>
          </p:cNvPr>
          <p:cNvSpPr>
            <a:spLocks noGrp="1"/>
          </p:cNvSpPr>
          <p:nvPr>
            <p:ph type="body" idx="32" hasCustomPrompt="1"/>
          </p:nvPr>
        </p:nvSpPr>
        <p:spPr>
          <a:xfrm>
            <a:off x="8373049" y="3019954"/>
            <a:ext cx="1651621" cy="488034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="0" cap="none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Name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93FA8F18-77E6-4C71-0CE5-3634C967F887}"/>
              </a:ext>
            </a:extLst>
          </p:cNvPr>
          <p:cNvSpPr>
            <a:spLocks noGrp="1"/>
          </p:cNvSpPr>
          <p:nvPr>
            <p:ph type="body" idx="33" hasCustomPrompt="1"/>
          </p:nvPr>
        </p:nvSpPr>
        <p:spPr>
          <a:xfrm>
            <a:off x="8373049" y="3577920"/>
            <a:ext cx="1651621" cy="202781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Position</a:t>
            </a:r>
          </a:p>
        </p:txBody>
      </p:sp>
      <p:sp>
        <p:nvSpPr>
          <p:cNvPr id="46" name="Picture Placeholder 27">
            <a:extLst>
              <a:ext uri="{FF2B5EF4-FFF2-40B4-BE49-F238E27FC236}">
                <a16:creationId xmlns:a16="http://schemas.microsoft.com/office/drawing/2014/main" id="{280C567E-FA94-1906-63BE-374BE9DCA9DD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2243325" y="4200854"/>
            <a:ext cx="1141995" cy="1141993"/>
          </a:xfrm>
          <a:custGeom>
            <a:avLst/>
            <a:gdLst>
              <a:gd name="connsiteX0" fmla="*/ 1877652 w 3755304"/>
              <a:gd name="connsiteY0" fmla="*/ 0 h 3755300"/>
              <a:gd name="connsiteX1" fmla="*/ 3755304 w 3755304"/>
              <a:gd name="connsiteY1" fmla="*/ 1877650 h 3755300"/>
              <a:gd name="connsiteX2" fmla="*/ 1877652 w 3755304"/>
              <a:gd name="connsiteY2" fmla="*/ 3755300 h 3755300"/>
              <a:gd name="connsiteX3" fmla="*/ 0 w 3755304"/>
              <a:gd name="connsiteY3" fmla="*/ 1877650 h 3755300"/>
              <a:gd name="connsiteX4" fmla="*/ 1877652 w 3755304"/>
              <a:gd name="connsiteY4" fmla="*/ 0 h 375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55304" h="3755300">
                <a:moveTo>
                  <a:pt x="1877652" y="0"/>
                </a:moveTo>
                <a:cubicBezTo>
                  <a:pt x="2914651" y="0"/>
                  <a:pt x="3755304" y="840653"/>
                  <a:pt x="3755304" y="1877650"/>
                </a:cubicBezTo>
                <a:cubicBezTo>
                  <a:pt x="3755304" y="2914647"/>
                  <a:pt x="2914651" y="3755300"/>
                  <a:pt x="1877652" y="3755300"/>
                </a:cubicBezTo>
                <a:cubicBezTo>
                  <a:pt x="840653" y="3755300"/>
                  <a:pt x="0" y="2914647"/>
                  <a:pt x="0" y="1877650"/>
                </a:cubicBezTo>
                <a:cubicBezTo>
                  <a:pt x="0" y="840653"/>
                  <a:pt x="840653" y="0"/>
                  <a:pt x="1877652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to add </a:t>
            </a:r>
          </a:p>
          <a:p>
            <a:r>
              <a:rPr lang="en-US"/>
              <a:t>picture</a:t>
            </a: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BE5A0023-28FF-F1A5-AB18-3BEC229ED970}"/>
              </a:ext>
            </a:extLst>
          </p:cNvPr>
          <p:cNvSpPr>
            <a:spLocks noGrp="1"/>
          </p:cNvSpPr>
          <p:nvPr>
            <p:ph type="body" idx="35" hasCustomPrompt="1"/>
          </p:nvPr>
        </p:nvSpPr>
        <p:spPr>
          <a:xfrm>
            <a:off x="1983007" y="5424952"/>
            <a:ext cx="1651621" cy="488034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="0" cap="none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Name</a:t>
            </a: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5417658F-2ABF-5061-EE16-9DA8DBC693B4}"/>
              </a:ext>
            </a:extLst>
          </p:cNvPr>
          <p:cNvSpPr>
            <a:spLocks noGrp="1"/>
          </p:cNvSpPr>
          <p:nvPr>
            <p:ph type="body" idx="36" hasCustomPrompt="1"/>
          </p:nvPr>
        </p:nvSpPr>
        <p:spPr>
          <a:xfrm>
            <a:off x="1983007" y="5982918"/>
            <a:ext cx="1651621" cy="202781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Position</a:t>
            </a:r>
          </a:p>
        </p:txBody>
      </p:sp>
      <p:sp>
        <p:nvSpPr>
          <p:cNvPr id="52" name="Picture Placeholder 27">
            <a:extLst>
              <a:ext uri="{FF2B5EF4-FFF2-40B4-BE49-F238E27FC236}">
                <a16:creationId xmlns:a16="http://schemas.microsoft.com/office/drawing/2014/main" id="{8853A8FC-C077-3757-5A8C-994B262B9867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4373339" y="4200854"/>
            <a:ext cx="1141995" cy="1141993"/>
          </a:xfrm>
          <a:custGeom>
            <a:avLst/>
            <a:gdLst>
              <a:gd name="connsiteX0" fmla="*/ 1877652 w 3755304"/>
              <a:gd name="connsiteY0" fmla="*/ 0 h 3755300"/>
              <a:gd name="connsiteX1" fmla="*/ 3755304 w 3755304"/>
              <a:gd name="connsiteY1" fmla="*/ 1877650 h 3755300"/>
              <a:gd name="connsiteX2" fmla="*/ 1877652 w 3755304"/>
              <a:gd name="connsiteY2" fmla="*/ 3755300 h 3755300"/>
              <a:gd name="connsiteX3" fmla="*/ 0 w 3755304"/>
              <a:gd name="connsiteY3" fmla="*/ 1877650 h 3755300"/>
              <a:gd name="connsiteX4" fmla="*/ 1877652 w 3755304"/>
              <a:gd name="connsiteY4" fmla="*/ 0 h 375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55304" h="3755300">
                <a:moveTo>
                  <a:pt x="1877652" y="0"/>
                </a:moveTo>
                <a:cubicBezTo>
                  <a:pt x="2914651" y="0"/>
                  <a:pt x="3755304" y="840653"/>
                  <a:pt x="3755304" y="1877650"/>
                </a:cubicBezTo>
                <a:cubicBezTo>
                  <a:pt x="3755304" y="2914647"/>
                  <a:pt x="2914651" y="3755300"/>
                  <a:pt x="1877652" y="3755300"/>
                </a:cubicBezTo>
                <a:cubicBezTo>
                  <a:pt x="840653" y="3755300"/>
                  <a:pt x="0" y="2914647"/>
                  <a:pt x="0" y="1877650"/>
                </a:cubicBezTo>
                <a:cubicBezTo>
                  <a:pt x="0" y="840653"/>
                  <a:pt x="840653" y="0"/>
                  <a:pt x="1877652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to add </a:t>
            </a:r>
          </a:p>
          <a:p>
            <a:r>
              <a:rPr lang="en-US"/>
              <a:t>picture</a:t>
            </a:r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0FA7BAC9-9B28-43D2-049B-A45E043DC765}"/>
              </a:ext>
            </a:extLst>
          </p:cNvPr>
          <p:cNvSpPr>
            <a:spLocks noGrp="1"/>
          </p:cNvSpPr>
          <p:nvPr>
            <p:ph type="body" idx="38" hasCustomPrompt="1"/>
          </p:nvPr>
        </p:nvSpPr>
        <p:spPr>
          <a:xfrm>
            <a:off x="4113021" y="5424952"/>
            <a:ext cx="1651621" cy="488034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="0" cap="none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Name</a:t>
            </a: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F40CA74A-F457-C9BC-142B-D70959824E5B}"/>
              </a:ext>
            </a:extLst>
          </p:cNvPr>
          <p:cNvSpPr>
            <a:spLocks noGrp="1"/>
          </p:cNvSpPr>
          <p:nvPr>
            <p:ph type="body" idx="39" hasCustomPrompt="1"/>
          </p:nvPr>
        </p:nvSpPr>
        <p:spPr>
          <a:xfrm>
            <a:off x="4113021" y="5982918"/>
            <a:ext cx="1651621" cy="202781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Position</a:t>
            </a:r>
          </a:p>
        </p:txBody>
      </p:sp>
      <p:sp>
        <p:nvSpPr>
          <p:cNvPr id="56" name="Picture Placeholder 27">
            <a:extLst>
              <a:ext uri="{FF2B5EF4-FFF2-40B4-BE49-F238E27FC236}">
                <a16:creationId xmlns:a16="http://schemas.microsoft.com/office/drawing/2014/main" id="{13160CAD-8730-1684-970D-7500F049AA2C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6497847" y="4200854"/>
            <a:ext cx="1141995" cy="1141993"/>
          </a:xfrm>
          <a:custGeom>
            <a:avLst/>
            <a:gdLst>
              <a:gd name="connsiteX0" fmla="*/ 1877652 w 3755304"/>
              <a:gd name="connsiteY0" fmla="*/ 0 h 3755300"/>
              <a:gd name="connsiteX1" fmla="*/ 3755304 w 3755304"/>
              <a:gd name="connsiteY1" fmla="*/ 1877650 h 3755300"/>
              <a:gd name="connsiteX2" fmla="*/ 1877652 w 3755304"/>
              <a:gd name="connsiteY2" fmla="*/ 3755300 h 3755300"/>
              <a:gd name="connsiteX3" fmla="*/ 0 w 3755304"/>
              <a:gd name="connsiteY3" fmla="*/ 1877650 h 3755300"/>
              <a:gd name="connsiteX4" fmla="*/ 1877652 w 3755304"/>
              <a:gd name="connsiteY4" fmla="*/ 0 h 375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55304" h="3755300">
                <a:moveTo>
                  <a:pt x="1877652" y="0"/>
                </a:moveTo>
                <a:cubicBezTo>
                  <a:pt x="2914651" y="0"/>
                  <a:pt x="3755304" y="840653"/>
                  <a:pt x="3755304" y="1877650"/>
                </a:cubicBezTo>
                <a:cubicBezTo>
                  <a:pt x="3755304" y="2914647"/>
                  <a:pt x="2914651" y="3755300"/>
                  <a:pt x="1877652" y="3755300"/>
                </a:cubicBezTo>
                <a:cubicBezTo>
                  <a:pt x="840653" y="3755300"/>
                  <a:pt x="0" y="2914647"/>
                  <a:pt x="0" y="1877650"/>
                </a:cubicBezTo>
                <a:cubicBezTo>
                  <a:pt x="0" y="840653"/>
                  <a:pt x="840653" y="0"/>
                  <a:pt x="1877652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to add </a:t>
            </a:r>
          </a:p>
          <a:p>
            <a:r>
              <a:rPr lang="en-US"/>
              <a:t>picture</a:t>
            </a:r>
          </a:p>
        </p:txBody>
      </p:sp>
      <p:sp>
        <p:nvSpPr>
          <p:cNvPr id="57" name="Text Placeholder 2">
            <a:extLst>
              <a:ext uri="{FF2B5EF4-FFF2-40B4-BE49-F238E27FC236}">
                <a16:creationId xmlns:a16="http://schemas.microsoft.com/office/drawing/2014/main" id="{387E5C9E-0527-960D-38BB-B97A20954018}"/>
              </a:ext>
            </a:extLst>
          </p:cNvPr>
          <p:cNvSpPr>
            <a:spLocks noGrp="1"/>
          </p:cNvSpPr>
          <p:nvPr>
            <p:ph type="body" idx="41" hasCustomPrompt="1"/>
          </p:nvPr>
        </p:nvSpPr>
        <p:spPr>
          <a:xfrm>
            <a:off x="6243035" y="5424952"/>
            <a:ext cx="1651621" cy="488034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="0" cap="none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Name</a:t>
            </a:r>
          </a:p>
        </p:txBody>
      </p:sp>
      <p:sp>
        <p:nvSpPr>
          <p:cNvPr id="61" name="Text Placeholder 2">
            <a:extLst>
              <a:ext uri="{FF2B5EF4-FFF2-40B4-BE49-F238E27FC236}">
                <a16:creationId xmlns:a16="http://schemas.microsoft.com/office/drawing/2014/main" id="{489258C2-7B1C-7BD6-8B60-B291A95A9229}"/>
              </a:ext>
            </a:extLst>
          </p:cNvPr>
          <p:cNvSpPr>
            <a:spLocks noGrp="1"/>
          </p:cNvSpPr>
          <p:nvPr>
            <p:ph type="body" idx="42" hasCustomPrompt="1"/>
          </p:nvPr>
        </p:nvSpPr>
        <p:spPr>
          <a:xfrm>
            <a:off x="6243035" y="5982918"/>
            <a:ext cx="1651621" cy="202781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Position</a:t>
            </a:r>
          </a:p>
        </p:txBody>
      </p:sp>
      <p:sp>
        <p:nvSpPr>
          <p:cNvPr id="65" name="Picture Placeholder 27">
            <a:extLst>
              <a:ext uri="{FF2B5EF4-FFF2-40B4-BE49-F238E27FC236}">
                <a16:creationId xmlns:a16="http://schemas.microsoft.com/office/drawing/2014/main" id="{BE0C335F-A158-933B-9610-749395EC2E72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8622355" y="4200854"/>
            <a:ext cx="1141995" cy="1141993"/>
          </a:xfrm>
          <a:custGeom>
            <a:avLst/>
            <a:gdLst>
              <a:gd name="connsiteX0" fmla="*/ 1877652 w 3755304"/>
              <a:gd name="connsiteY0" fmla="*/ 0 h 3755300"/>
              <a:gd name="connsiteX1" fmla="*/ 3755304 w 3755304"/>
              <a:gd name="connsiteY1" fmla="*/ 1877650 h 3755300"/>
              <a:gd name="connsiteX2" fmla="*/ 1877652 w 3755304"/>
              <a:gd name="connsiteY2" fmla="*/ 3755300 h 3755300"/>
              <a:gd name="connsiteX3" fmla="*/ 0 w 3755304"/>
              <a:gd name="connsiteY3" fmla="*/ 1877650 h 3755300"/>
              <a:gd name="connsiteX4" fmla="*/ 1877652 w 3755304"/>
              <a:gd name="connsiteY4" fmla="*/ 0 h 375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55304" h="3755300">
                <a:moveTo>
                  <a:pt x="1877652" y="0"/>
                </a:moveTo>
                <a:cubicBezTo>
                  <a:pt x="2914651" y="0"/>
                  <a:pt x="3755304" y="840653"/>
                  <a:pt x="3755304" y="1877650"/>
                </a:cubicBezTo>
                <a:cubicBezTo>
                  <a:pt x="3755304" y="2914647"/>
                  <a:pt x="2914651" y="3755300"/>
                  <a:pt x="1877652" y="3755300"/>
                </a:cubicBezTo>
                <a:cubicBezTo>
                  <a:pt x="840653" y="3755300"/>
                  <a:pt x="0" y="2914647"/>
                  <a:pt x="0" y="1877650"/>
                </a:cubicBezTo>
                <a:cubicBezTo>
                  <a:pt x="0" y="840653"/>
                  <a:pt x="840653" y="0"/>
                  <a:pt x="1877652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to add </a:t>
            </a:r>
          </a:p>
          <a:p>
            <a:r>
              <a:rPr lang="en-US"/>
              <a:t>picture</a:t>
            </a:r>
          </a:p>
        </p:txBody>
      </p:sp>
      <p:sp>
        <p:nvSpPr>
          <p:cNvPr id="69" name="Text Placeholder 2">
            <a:extLst>
              <a:ext uri="{FF2B5EF4-FFF2-40B4-BE49-F238E27FC236}">
                <a16:creationId xmlns:a16="http://schemas.microsoft.com/office/drawing/2014/main" id="{E321C675-6C40-B7B0-071D-270A16167689}"/>
              </a:ext>
            </a:extLst>
          </p:cNvPr>
          <p:cNvSpPr>
            <a:spLocks noGrp="1"/>
          </p:cNvSpPr>
          <p:nvPr>
            <p:ph type="body" idx="44" hasCustomPrompt="1"/>
          </p:nvPr>
        </p:nvSpPr>
        <p:spPr>
          <a:xfrm>
            <a:off x="8373049" y="5424952"/>
            <a:ext cx="1651621" cy="488034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="0" cap="none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Name</a:t>
            </a:r>
          </a:p>
        </p:txBody>
      </p:sp>
      <p:sp>
        <p:nvSpPr>
          <p:cNvPr id="73" name="Text Placeholder 2">
            <a:extLst>
              <a:ext uri="{FF2B5EF4-FFF2-40B4-BE49-F238E27FC236}">
                <a16:creationId xmlns:a16="http://schemas.microsoft.com/office/drawing/2014/main" id="{BA494CEF-501A-8486-B411-56392ACBC410}"/>
              </a:ext>
            </a:extLst>
          </p:cNvPr>
          <p:cNvSpPr>
            <a:spLocks noGrp="1"/>
          </p:cNvSpPr>
          <p:nvPr>
            <p:ph type="body" idx="45" hasCustomPrompt="1"/>
          </p:nvPr>
        </p:nvSpPr>
        <p:spPr>
          <a:xfrm>
            <a:off x="8373049" y="5982918"/>
            <a:ext cx="1651621" cy="202781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Position</a:t>
            </a:r>
          </a:p>
        </p:txBody>
      </p:sp>
    </p:spTree>
    <p:extLst>
      <p:ext uri="{BB962C8B-B14F-4D97-AF65-F5344CB8AC3E}">
        <p14:creationId xmlns:p14="http://schemas.microsoft.com/office/powerpoint/2010/main" val="224500641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 w/ Footer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E5CE04-C121-2373-E7E4-45C22E1AEB4E}"/>
              </a:ext>
            </a:extLst>
          </p:cNvPr>
          <p:cNvSpPr txBox="1">
            <a:spLocks/>
          </p:cNvSpPr>
          <p:nvPr userDrawn="1"/>
        </p:nvSpPr>
        <p:spPr>
          <a:xfrm>
            <a:off x="810492" y="862770"/>
            <a:ext cx="10515600" cy="827918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0C7B8C22-071D-4959-9B85-49B7B47C7BC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0017" y="6594232"/>
            <a:ext cx="828582" cy="168306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2911F0FC-0953-DC45-07B5-1E84D64F927D}"/>
              </a:ext>
            </a:extLst>
          </p:cNvPr>
          <p:cNvSpPr/>
          <p:nvPr userDrawn="1"/>
        </p:nvSpPr>
        <p:spPr>
          <a:xfrm>
            <a:off x="0" y="6498771"/>
            <a:ext cx="12192000" cy="359229"/>
          </a:xfrm>
          <a:prstGeom prst="rect">
            <a:avLst/>
          </a:prstGeom>
          <a:solidFill>
            <a:schemeClr val="tx1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Google Shape;519;p16">
            <a:extLst>
              <a:ext uri="{FF2B5EF4-FFF2-40B4-BE49-F238E27FC236}">
                <a16:creationId xmlns:a16="http://schemas.microsoft.com/office/drawing/2014/main" id="{EAFF9077-780D-4CD3-E45B-00BAC277858F}"/>
              </a:ext>
            </a:extLst>
          </p:cNvPr>
          <p:cNvSpPr/>
          <p:nvPr userDrawn="1"/>
        </p:nvSpPr>
        <p:spPr>
          <a:xfrm>
            <a:off x="11431039" y="6226058"/>
            <a:ext cx="547419" cy="545425"/>
          </a:xfrm>
          <a:prstGeom prst="ellipse">
            <a:avLst/>
          </a:prstGeom>
          <a:solidFill>
            <a:schemeClr val="tx2"/>
          </a:solidFill>
          <a:ln>
            <a:noFill/>
          </a:ln>
          <a:effectLst>
            <a:outerShdw blurRad="50800" dist="38100" dir="8100000" algn="tr" rotWithShape="0">
              <a:prstClr val="black">
                <a:alpha val="10348"/>
              </a:prst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" name="Google Shape;423;p13">
            <a:extLst>
              <a:ext uri="{FF2B5EF4-FFF2-40B4-BE49-F238E27FC236}">
                <a16:creationId xmlns:a16="http://schemas.microsoft.com/office/drawing/2014/main" id="{705F9D60-1A3C-2E7C-CDE8-5B16D9DC8397}"/>
              </a:ext>
            </a:extLst>
          </p:cNvPr>
          <p:cNvSpPr txBox="1"/>
          <p:nvPr userDrawn="1"/>
        </p:nvSpPr>
        <p:spPr>
          <a:xfrm>
            <a:off x="11507512" y="6364038"/>
            <a:ext cx="394471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fld id="{EAB91DC4-3975-794F-B8BB-6E50AC3E5273}" type="slidenum">
              <a:rPr lang="en-US" sz="1200" smtClean="0">
                <a:latin typeface="Montserrat Light" pitchFamily="2" charset="77"/>
                <a:ea typeface="Roboto Condensed"/>
                <a:cs typeface="Roboto Condensed"/>
                <a:sym typeface="Roboto Condensed"/>
              </a:rPr>
              <a:t>‹#›</a:t>
            </a:fld>
            <a:endParaRPr sz="1200">
              <a:latin typeface="Montserrat Light" pitchFamily="2" charset="77"/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5C90C116-68E8-FCA0-BF8A-F356CA6703D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0017" y="6594232"/>
            <a:ext cx="828582" cy="1683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094944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 w/ Footer_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E5CE04-C121-2373-E7E4-45C22E1AEB4E}"/>
              </a:ext>
            </a:extLst>
          </p:cNvPr>
          <p:cNvSpPr txBox="1">
            <a:spLocks/>
          </p:cNvSpPr>
          <p:nvPr userDrawn="1"/>
        </p:nvSpPr>
        <p:spPr>
          <a:xfrm>
            <a:off x="810492" y="862770"/>
            <a:ext cx="10515600" cy="827918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7B04684-95BC-393F-5008-5AD3696DF7CE}"/>
              </a:ext>
            </a:extLst>
          </p:cNvPr>
          <p:cNvSpPr/>
          <p:nvPr userDrawn="1"/>
        </p:nvSpPr>
        <p:spPr>
          <a:xfrm>
            <a:off x="0" y="6498771"/>
            <a:ext cx="12192000" cy="359229"/>
          </a:xfrm>
          <a:prstGeom prst="rect">
            <a:avLst/>
          </a:prstGeom>
          <a:solidFill>
            <a:schemeClr val="bg2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2"/>
              </a:solidFill>
            </a:endParaRPr>
          </a:p>
        </p:txBody>
      </p:sp>
      <p:sp>
        <p:nvSpPr>
          <p:cNvPr id="10" name="Google Shape;519;p16">
            <a:extLst>
              <a:ext uri="{FF2B5EF4-FFF2-40B4-BE49-F238E27FC236}">
                <a16:creationId xmlns:a16="http://schemas.microsoft.com/office/drawing/2014/main" id="{E4F0ED0A-7132-2463-5C63-2479E93DDE3B}"/>
              </a:ext>
            </a:extLst>
          </p:cNvPr>
          <p:cNvSpPr/>
          <p:nvPr userDrawn="1"/>
        </p:nvSpPr>
        <p:spPr>
          <a:xfrm>
            <a:off x="11431039" y="6226058"/>
            <a:ext cx="547419" cy="545425"/>
          </a:xfrm>
          <a:prstGeom prst="ellipse">
            <a:avLst/>
          </a:prstGeom>
          <a:solidFill>
            <a:schemeClr val="tx2"/>
          </a:solidFill>
          <a:ln>
            <a:noFill/>
          </a:ln>
          <a:effectLst>
            <a:outerShdw blurRad="50800" dist="38100" dir="8100000" algn="tr" rotWithShape="0">
              <a:prstClr val="black">
                <a:alpha val="10348"/>
              </a:prst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B5E768BD-50E8-3B34-7927-E551BAC49DE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0017" y="6594232"/>
            <a:ext cx="828582" cy="168306"/>
          </a:xfrm>
          <a:prstGeom prst="rect">
            <a:avLst/>
          </a:prstGeom>
        </p:spPr>
      </p:pic>
      <p:sp>
        <p:nvSpPr>
          <p:cNvPr id="13" name="Google Shape;423;p13">
            <a:extLst>
              <a:ext uri="{FF2B5EF4-FFF2-40B4-BE49-F238E27FC236}">
                <a16:creationId xmlns:a16="http://schemas.microsoft.com/office/drawing/2014/main" id="{7804F221-EDDC-C8FC-8BAA-9ABC77737CFE}"/>
              </a:ext>
            </a:extLst>
          </p:cNvPr>
          <p:cNvSpPr txBox="1"/>
          <p:nvPr userDrawn="1"/>
        </p:nvSpPr>
        <p:spPr>
          <a:xfrm>
            <a:off x="11507512" y="6364038"/>
            <a:ext cx="394471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fld id="{EAB91DC4-3975-794F-B8BB-6E50AC3E5273}" type="slidenum">
              <a:rPr lang="en-US" sz="1200" smtClean="0">
                <a:latin typeface="Montserrat Light" pitchFamily="2" charset="77"/>
                <a:ea typeface="Roboto Condensed"/>
                <a:cs typeface="Roboto Condensed"/>
                <a:sym typeface="Roboto Condensed"/>
              </a:rPr>
              <a:t>‹#›</a:t>
            </a:fld>
            <a:endParaRPr sz="1200">
              <a:latin typeface="Montserrat Light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340525172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 w/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855BE13A-E600-BBCA-F22B-35F5FDFE11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40767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B224137-4D18-0B64-7D4B-D33845C8A2BC}"/>
              </a:ext>
            </a:extLst>
          </p:cNvPr>
          <p:cNvSpPr/>
          <p:nvPr userDrawn="1"/>
        </p:nvSpPr>
        <p:spPr>
          <a:xfrm>
            <a:off x="0" y="6498771"/>
            <a:ext cx="12192000" cy="359229"/>
          </a:xfrm>
          <a:prstGeom prst="rect">
            <a:avLst/>
          </a:prstGeom>
          <a:solidFill>
            <a:schemeClr val="bg2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2"/>
              </a:solidFill>
            </a:endParaRPr>
          </a:p>
        </p:txBody>
      </p:sp>
      <p:sp>
        <p:nvSpPr>
          <p:cNvPr id="8" name="Google Shape;519;p16">
            <a:extLst>
              <a:ext uri="{FF2B5EF4-FFF2-40B4-BE49-F238E27FC236}">
                <a16:creationId xmlns:a16="http://schemas.microsoft.com/office/drawing/2014/main" id="{7BD30494-9634-3797-6180-1D75C8615149}"/>
              </a:ext>
            </a:extLst>
          </p:cNvPr>
          <p:cNvSpPr/>
          <p:nvPr userDrawn="1"/>
        </p:nvSpPr>
        <p:spPr>
          <a:xfrm>
            <a:off x="11431039" y="6226058"/>
            <a:ext cx="547419" cy="545425"/>
          </a:xfrm>
          <a:prstGeom prst="ellipse">
            <a:avLst/>
          </a:prstGeom>
          <a:solidFill>
            <a:schemeClr val="tx2"/>
          </a:solidFill>
          <a:ln>
            <a:noFill/>
          </a:ln>
          <a:effectLst>
            <a:outerShdw blurRad="50800" dist="38100" dir="8100000" algn="tr" rotWithShape="0">
              <a:prstClr val="black">
                <a:alpha val="10348"/>
              </a:prst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FA97A7E8-F836-87B0-81D1-C06F0DECB80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0017" y="6594232"/>
            <a:ext cx="828582" cy="168306"/>
          </a:xfrm>
          <a:prstGeom prst="rect">
            <a:avLst/>
          </a:prstGeom>
        </p:spPr>
      </p:pic>
      <p:sp>
        <p:nvSpPr>
          <p:cNvPr id="14" name="Google Shape;423;p13">
            <a:extLst>
              <a:ext uri="{FF2B5EF4-FFF2-40B4-BE49-F238E27FC236}">
                <a16:creationId xmlns:a16="http://schemas.microsoft.com/office/drawing/2014/main" id="{19CB88DB-7965-F99B-2EE4-D2A635F04FD0}"/>
              </a:ext>
            </a:extLst>
          </p:cNvPr>
          <p:cNvSpPr txBox="1"/>
          <p:nvPr userDrawn="1"/>
        </p:nvSpPr>
        <p:spPr>
          <a:xfrm>
            <a:off x="11507512" y="6364038"/>
            <a:ext cx="394471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fld id="{EAB91DC4-3975-794F-B8BB-6E50AC3E5273}" type="slidenum">
              <a:rPr lang="en-US" sz="1200" smtClean="0">
                <a:latin typeface="Montserrat Light" pitchFamily="2" charset="77"/>
                <a:ea typeface="Roboto Condensed"/>
                <a:cs typeface="Roboto Condensed"/>
                <a:sym typeface="Roboto Condensed"/>
              </a:rPr>
              <a:t>‹#›</a:t>
            </a:fld>
            <a:endParaRPr sz="1200">
              <a:latin typeface="Montserrat Light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45643722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 w/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7E5E7A43-2251-F110-22BD-66B3C247F6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15300" y="0"/>
            <a:ext cx="40767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B224137-4D18-0B64-7D4B-D33845C8A2BC}"/>
              </a:ext>
            </a:extLst>
          </p:cNvPr>
          <p:cNvSpPr/>
          <p:nvPr userDrawn="1"/>
        </p:nvSpPr>
        <p:spPr>
          <a:xfrm>
            <a:off x="0" y="6498771"/>
            <a:ext cx="12192000" cy="359229"/>
          </a:xfrm>
          <a:prstGeom prst="rect">
            <a:avLst/>
          </a:prstGeom>
          <a:solidFill>
            <a:schemeClr val="bg2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2"/>
              </a:solidFill>
            </a:endParaRPr>
          </a:p>
        </p:txBody>
      </p:sp>
      <p:sp>
        <p:nvSpPr>
          <p:cNvPr id="8" name="Google Shape;519;p16">
            <a:extLst>
              <a:ext uri="{FF2B5EF4-FFF2-40B4-BE49-F238E27FC236}">
                <a16:creationId xmlns:a16="http://schemas.microsoft.com/office/drawing/2014/main" id="{7BD30494-9634-3797-6180-1D75C8615149}"/>
              </a:ext>
            </a:extLst>
          </p:cNvPr>
          <p:cNvSpPr/>
          <p:nvPr userDrawn="1"/>
        </p:nvSpPr>
        <p:spPr>
          <a:xfrm>
            <a:off x="11431039" y="6226058"/>
            <a:ext cx="547419" cy="545425"/>
          </a:xfrm>
          <a:prstGeom prst="ellipse">
            <a:avLst/>
          </a:prstGeom>
          <a:solidFill>
            <a:schemeClr val="tx2"/>
          </a:solidFill>
          <a:ln>
            <a:noFill/>
          </a:ln>
          <a:effectLst>
            <a:outerShdw blurRad="50800" dist="38100" dir="8100000" algn="tr" rotWithShape="0">
              <a:prstClr val="black">
                <a:alpha val="10348"/>
              </a:prst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FA97A7E8-F836-87B0-81D1-C06F0DECB80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0017" y="6594232"/>
            <a:ext cx="828582" cy="168306"/>
          </a:xfrm>
          <a:prstGeom prst="rect">
            <a:avLst/>
          </a:prstGeom>
        </p:spPr>
      </p:pic>
      <p:sp>
        <p:nvSpPr>
          <p:cNvPr id="14" name="Google Shape;423;p13">
            <a:extLst>
              <a:ext uri="{FF2B5EF4-FFF2-40B4-BE49-F238E27FC236}">
                <a16:creationId xmlns:a16="http://schemas.microsoft.com/office/drawing/2014/main" id="{19CB88DB-7965-F99B-2EE4-D2A635F04FD0}"/>
              </a:ext>
            </a:extLst>
          </p:cNvPr>
          <p:cNvSpPr txBox="1"/>
          <p:nvPr userDrawn="1"/>
        </p:nvSpPr>
        <p:spPr>
          <a:xfrm>
            <a:off x="11507512" y="6364038"/>
            <a:ext cx="394471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fld id="{EAB91DC4-3975-794F-B8BB-6E50AC3E5273}" type="slidenum">
              <a:rPr lang="en-US" sz="1200" smtClean="0">
                <a:latin typeface="Montserrat Light" pitchFamily="2" charset="77"/>
                <a:ea typeface="Roboto Condensed"/>
                <a:cs typeface="Roboto Condensed"/>
                <a:sym typeface="Roboto Condensed"/>
              </a:rPr>
              <a:t>‹#›</a:t>
            </a:fld>
            <a:endParaRPr sz="1200">
              <a:latin typeface="Montserrat Light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5585127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F80B4491-1EFD-8AE4-734D-F71920F573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CAB4C3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820EB844-6430-77BD-44EC-FAD59DDFDB56}"/>
              </a:ext>
            </a:extLst>
          </p:cNvPr>
          <p:cNvSpPr/>
          <p:nvPr userDrawn="1"/>
        </p:nvSpPr>
        <p:spPr>
          <a:xfrm>
            <a:off x="671162" y="1011628"/>
            <a:ext cx="992188" cy="992188"/>
          </a:xfrm>
          <a:prstGeom prst="ellipse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noFill/>
              </a:ln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6E5CE04-C121-2373-E7E4-45C22E1AEB4E}"/>
              </a:ext>
            </a:extLst>
          </p:cNvPr>
          <p:cNvSpPr txBox="1">
            <a:spLocks/>
          </p:cNvSpPr>
          <p:nvPr userDrawn="1"/>
        </p:nvSpPr>
        <p:spPr>
          <a:xfrm>
            <a:off x="810492" y="862770"/>
            <a:ext cx="10515600" cy="827918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8ACC65A1-A26B-E9DE-5230-1E7E0D38AB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27378" y="1168407"/>
            <a:ext cx="7213392" cy="2378047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/>
              <a:t>Click here to add section title</a:t>
            </a:r>
            <a:endParaRPr lang="hu-HU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AE3C67AC-197D-800F-B947-EB62F341AA86}"/>
              </a:ext>
            </a:extLst>
          </p:cNvPr>
          <p:cNvSpPr>
            <a:spLocks noGrp="1"/>
          </p:cNvSpPr>
          <p:nvPr>
            <p:ph type="body" sz="half" idx="14" hasCustomPrompt="1"/>
          </p:nvPr>
        </p:nvSpPr>
        <p:spPr>
          <a:xfrm>
            <a:off x="579357" y="1187925"/>
            <a:ext cx="1175798" cy="639595"/>
          </a:xfrm>
        </p:spPr>
        <p:txBody>
          <a:bodyPr anchor="ctr">
            <a:noAutofit/>
          </a:bodyPr>
          <a:lstStyle>
            <a:lvl1pPr marL="0" indent="0" algn="ctr">
              <a:buNone/>
              <a:defRPr sz="3600" cap="all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NR.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A80D9323-3C24-24E7-FF1A-2CE274D0A5B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4201611" y="3546454"/>
            <a:ext cx="7771584" cy="75266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45909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4089" userDrawn="1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lank w/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7E5E7A43-2251-F110-22BD-66B3C247F6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B224137-4D18-0B64-7D4B-D33845C8A2BC}"/>
              </a:ext>
            </a:extLst>
          </p:cNvPr>
          <p:cNvSpPr/>
          <p:nvPr userDrawn="1"/>
        </p:nvSpPr>
        <p:spPr>
          <a:xfrm>
            <a:off x="0" y="6498771"/>
            <a:ext cx="12192000" cy="359229"/>
          </a:xfrm>
          <a:prstGeom prst="rect">
            <a:avLst/>
          </a:prstGeom>
          <a:solidFill>
            <a:schemeClr val="bg2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2"/>
              </a:solidFill>
            </a:endParaRPr>
          </a:p>
        </p:txBody>
      </p:sp>
      <p:sp>
        <p:nvSpPr>
          <p:cNvPr id="8" name="Google Shape;519;p16">
            <a:extLst>
              <a:ext uri="{FF2B5EF4-FFF2-40B4-BE49-F238E27FC236}">
                <a16:creationId xmlns:a16="http://schemas.microsoft.com/office/drawing/2014/main" id="{7BD30494-9634-3797-6180-1D75C8615149}"/>
              </a:ext>
            </a:extLst>
          </p:cNvPr>
          <p:cNvSpPr/>
          <p:nvPr userDrawn="1"/>
        </p:nvSpPr>
        <p:spPr>
          <a:xfrm>
            <a:off x="11431039" y="6226058"/>
            <a:ext cx="547419" cy="545425"/>
          </a:xfrm>
          <a:prstGeom prst="ellipse">
            <a:avLst/>
          </a:prstGeom>
          <a:solidFill>
            <a:schemeClr val="tx2"/>
          </a:solidFill>
          <a:ln>
            <a:noFill/>
          </a:ln>
          <a:effectLst>
            <a:outerShdw blurRad="50800" dist="38100" dir="8100000" algn="tr" rotWithShape="0">
              <a:prstClr val="black">
                <a:alpha val="10348"/>
              </a:prst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FA97A7E8-F836-87B0-81D1-C06F0DECB80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0017" y="6594232"/>
            <a:ext cx="828582" cy="168306"/>
          </a:xfrm>
          <a:prstGeom prst="rect">
            <a:avLst/>
          </a:prstGeom>
        </p:spPr>
      </p:pic>
      <p:sp>
        <p:nvSpPr>
          <p:cNvPr id="14" name="Google Shape;423;p13">
            <a:extLst>
              <a:ext uri="{FF2B5EF4-FFF2-40B4-BE49-F238E27FC236}">
                <a16:creationId xmlns:a16="http://schemas.microsoft.com/office/drawing/2014/main" id="{19CB88DB-7965-F99B-2EE4-D2A635F04FD0}"/>
              </a:ext>
            </a:extLst>
          </p:cNvPr>
          <p:cNvSpPr txBox="1"/>
          <p:nvPr userDrawn="1"/>
        </p:nvSpPr>
        <p:spPr>
          <a:xfrm>
            <a:off x="11507512" y="6364038"/>
            <a:ext cx="394471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fld id="{EAB91DC4-3975-794F-B8BB-6E50AC3E5273}" type="slidenum">
              <a:rPr lang="en-US" sz="1200" smtClean="0">
                <a:latin typeface="Montserrat Light" pitchFamily="2" charset="77"/>
                <a:ea typeface="Roboto Condensed"/>
                <a:cs typeface="Roboto Condensed"/>
                <a:sym typeface="Roboto Condensed"/>
              </a:rPr>
              <a:t>‹#›</a:t>
            </a:fld>
            <a:endParaRPr sz="1200">
              <a:latin typeface="Montserrat Light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73214261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Blank w/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855BE13A-E600-BBCA-F22B-35F5FDFE11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"/>
            <a:ext cx="12192000" cy="3429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E7DC302-E48A-FC9A-EDC3-CEBC3682F77D}"/>
              </a:ext>
            </a:extLst>
          </p:cNvPr>
          <p:cNvSpPr/>
          <p:nvPr userDrawn="1"/>
        </p:nvSpPr>
        <p:spPr>
          <a:xfrm>
            <a:off x="0" y="6498771"/>
            <a:ext cx="12192000" cy="359229"/>
          </a:xfrm>
          <a:prstGeom prst="rect">
            <a:avLst/>
          </a:prstGeom>
          <a:solidFill>
            <a:schemeClr val="tx1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Google Shape;519;p16">
            <a:extLst>
              <a:ext uri="{FF2B5EF4-FFF2-40B4-BE49-F238E27FC236}">
                <a16:creationId xmlns:a16="http://schemas.microsoft.com/office/drawing/2014/main" id="{BC08BF97-2806-0877-C3F1-13187FC0BB33}"/>
              </a:ext>
            </a:extLst>
          </p:cNvPr>
          <p:cNvSpPr/>
          <p:nvPr userDrawn="1"/>
        </p:nvSpPr>
        <p:spPr>
          <a:xfrm>
            <a:off x="11431039" y="6226058"/>
            <a:ext cx="547419" cy="545425"/>
          </a:xfrm>
          <a:prstGeom prst="ellipse">
            <a:avLst/>
          </a:prstGeom>
          <a:solidFill>
            <a:schemeClr val="tx2"/>
          </a:solidFill>
          <a:ln>
            <a:noFill/>
          </a:ln>
          <a:effectLst>
            <a:outerShdw blurRad="50800" dist="38100" dir="8100000" algn="tr" rotWithShape="0">
              <a:prstClr val="black">
                <a:alpha val="10348"/>
              </a:prst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" name="Google Shape;423;p13">
            <a:extLst>
              <a:ext uri="{FF2B5EF4-FFF2-40B4-BE49-F238E27FC236}">
                <a16:creationId xmlns:a16="http://schemas.microsoft.com/office/drawing/2014/main" id="{78186D6F-623B-4CAE-5420-CAA4BC9DD704}"/>
              </a:ext>
            </a:extLst>
          </p:cNvPr>
          <p:cNvSpPr txBox="1"/>
          <p:nvPr userDrawn="1"/>
        </p:nvSpPr>
        <p:spPr>
          <a:xfrm>
            <a:off x="11507512" y="6364038"/>
            <a:ext cx="394471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fld id="{EAB91DC4-3975-794F-B8BB-6E50AC3E5273}" type="slidenum">
              <a:rPr lang="en-US" sz="1200" smtClean="0">
                <a:latin typeface="Montserrat Light" pitchFamily="2" charset="77"/>
                <a:ea typeface="Roboto Condensed"/>
                <a:cs typeface="Roboto Condensed"/>
                <a:sym typeface="Roboto Condensed"/>
              </a:rPr>
              <a:t>‹#›</a:t>
            </a:fld>
            <a:endParaRPr sz="1200">
              <a:latin typeface="Montserrat Light" pitchFamily="2" charset="77"/>
            </a:endParaRPr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21745BFE-1E26-494E-1924-492A8A6B65B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0017" y="6594232"/>
            <a:ext cx="828582" cy="1683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84306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Blank w/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855BE13A-E600-BBCA-F22B-35F5FDFE11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3429000"/>
            <a:ext cx="12192000" cy="3429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B93F105-3885-B6E8-10A2-037D8E4CE9CC}"/>
              </a:ext>
            </a:extLst>
          </p:cNvPr>
          <p:cNvSpPr/>
          <p:nvPr userDrawn="1"/>
        </p:nvSpPr>
        <p:spPr>
          <a:xfrm>
            <a:off x="0" y="6498771"/>
            <a:ext cx="12192000" cy="359229"/>
          </a:xfrm>
          <a:prstGeom prst="rect">
            <a:avLst/>
          </a:prstGeom>
          <a:solidFill>
            <a:schemeClr val="bg2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2"/>
              </a:solidFill>
            </a:endParaRPr>
          </a:p>
        </p:txBody>
      </p:sp>
      <p:sp>
        <p:nvSpPr>
          <p:cNvPr id="5" name="Google Shape;519;p16">
            <a:extLst>
              <a:ext uri="{FF2B5EF4-FFF2-40B4-BE49-F238E27FC236}">
                <a16:creationId xmlns:a16="http://schemas.microsoft.com/office/drawing/2014/main" id="{CF89C6BD-4F62-CB5A-8A6F-95D0873C4D00}"/>
              </a:ext>
            </a:extLst>
          </p:cNvPr>
          <p:cNvSpPr/>
          <p:nvPr userDrawn="1"/>
        </p:nvSpPr>
        <p:spPr>
          <a:xfrm>
            <a:off x="11431039" y="6226058"/>
            <a:ext cx="547419" cy="545425"/>
          </a:xfrm>
          <a:prstGeom prst="ellipse">
            <a:avLst/>
          </a:prstGeom>
          <a:solidFill>
            <a:schemeClr val="tx2"/>
          </a:solidFill>
          <a:ln>
            <a:noFill/>
          </a:ln>
          <a:effectLst>
            <a:outerShdw blurRad="50800" dist="38100" dir="8100000" algn="tr" rotWithShape="0">
              <a:prstClr val="black">
                <a:alpha val="10348"/>
              </a:prst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7BFE384B-DFAB-A858-60CF-AA95C85B48B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0017" y="6594232"/>
            <a:ext cx="828582" cy="168306"/>
          </a:xfrm>
          <a:prstGeom prst="rect">
            <a:avLst/>
          </a:prstGeom>
        </p:spPr>
      </p:pic>
      <p:sp>
        <p:nvSpPr>
          <p:cNvPr id="7" name="Google Shape;423;p13">
            <a:extLst>
              <a:ext uri="{FF2B5EF4-FFF2-40B4-BE49-F238E27FC236}">
                <a16:creationId xmlns:a16="http://schemas.microsoft.com/office/drawing/2014/main" id="{68550DD5-C930-74F1-027B-C5301D48304E}"/>
              </a:ext>
            </a:extLst>
          </p:cNvPr>
          <p:cNvSpPr txBox="1"/>
          <p:nvPr userDrawn="1"/>
        </p:nvSpPr>
        <p:spPr>
          <a:xfrm>
            <a:off x="11507512" y="6364038"/>
            <a:ext cx="394471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fld id="{EAB91DC4-3975-794F-B8BB-6E50AC3E5273}" type="slidenum">
              <a:rPr lang="en-US" sz="1200" smtClean="0">
                <a:latin typeface="Montserrat Light" pitchFamily="2" charset="77"/>
                <a:ea typeface="Roboto Condensed"/>
                <a:cs typeface="Roboto Condensed"/>
                <a:sym typeface="Roboto Condensed"/>
              </a:rPr>
              <a:t>‹#›</a:t>
            </a:fld>
            <a:endParaRPr sz="1200">
              <a:latin typeface="Montserrat Light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65100191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Blank w/ Footer+Waterm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CE864B3D-BD84-B763-9ED7-68E791B057E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2473938" y="-78888"/>
            <a:ext cx="7244123" cy="7015776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A7B04684-95BC-393F-5008-5AD3696DF7CE}"/>
              </a:ext>
            </a:extLst>
          </p:cNvPr>
          <p:cNvSpPr/>
          <p:nvPr userDrawn="1"/>
        </p:nvSpPr>
        <p:spPr>
          <a:xfrm>
            <a:off x="0" y="6498771"/>
            <a:ext cx="12192000" cy="359229"/>
          </a:xfrm>
          <a:prstGeom prst="rect">
            <a:avLst/>
          </a:prstGeom>
          <a:solidFill>
            <a:schemeClr val="bg2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2"/>
              </a:solidFill>
            </a:endParaRPr>
          </a:p>
        </p:txBody>
      </p:sp>
      <p:sp>
        <p:nvSpPr>
          <p:cNvPr id="10" name="Google Shape;519;p16">
            <a:extLst>
              <a:ext uri="{FF2B5EF4-FFF2-40B4-BE49-F238E27FC236}">
                <a16:creationId xmlns:a16="http://schemas.microsoft.com/office/drawing/2014/main" id="{E4F0ED0A-7132-2463-5C63-2479E93DDE3B}"/>
              </a:ext>
            </a:extLst>
          </p:cNvPr>
          <p:cNvSpPr/>
          <p:nvPr userDrawn="1"/>
        </p:nvSpPr>
        <p:spPr>
          <a:xfrm>
            <a:off x="11431039" y="6226058"/>
            <a:ext cx="547419" cy="545425"/>
          </a:xfrm>
          <a:prstGeom prst="ellipse">
            <a:avLst/>
          </a:prstGeom>
          <a:solidFill>
            <a:schemeClr val="tx2"/>
          </a:solidFill>
          <a:ln>
            <a:noFill/>
          </a:ln>
          <a:effectLst>
            <a:outerShdw blurRad="50800" dist="38100" dir="8100000" algn="tr" rotWithShape="0">
              <a:prstClr val="black">
                <a:alpha val="10348"/>
              </a:prst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B5E768BD-50E8-3B34-7927-E551BAC49DE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90017" y="6594232"/>
            <a:ext cx="828582" cy="168306"/>
          </a:xfrm>
          <a:prstGeom prst="rect">
            <a:avLst/>
          </a:prstGeom>
        </p:spPr>
      </p:pic>
      <p:sp>
        <p:nvSpPr>
          <p:cNvPr id="13" name="Google Shape;423;p13">
            <a:extLst>
              <a:ext uri="{FF2B5EF4-FFF2-40B4-BE49-F238E27FC236}">
                <a16:creationId xmlns:a16="http://schemas.microsoft.com/office/drawing/2014/main" id="{7804F221-EDDC-C8FC-8BAA-9ABC77737CFE}"/>
              </a:ext>
            </a:extLst>
          </p:cNvPr>
          <p:cNvSpPr txBox="1"/>
          <p:nvPr userDrawn="1"/>
        </p:nvSpPr>
        <p:spPr>
          <a:xfrm>
            <a:off x="11507512" y="6364038"/>
            <a:ext cx="394471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fld id="{EAB91DC4-3975-794F-B8BB-6E50AC3E5273}" type="slidenum">
              <a:rPr lang="en-US" sz="1200" smtClean="0">
                <a:latin typeface="Montserrat Light" pitchFamily="2" charset="77"/>
                <a:ea typeface="Roboto Condensed"/>
                <a:cs typeface="Roboto Condensed"/>
                <a:sym typeface="Roboto Condensed"/>
              </a:rPr>
              <a:t>‹#›</a:t>
            </a:fld>
            <a:endParaRPr sz="1200">
              <a:latin typeface="Montserrat Light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52498095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Blank w/ Footer+Waterm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EB61C85A-E610-616C-C36D-FCBF584A87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8082685" y="-78888"/>
            <a:ext cx="7244123" cy="7015776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A7B04684-95BC-393F-5008-5AD3696DF7CE}"/>
              </a:ext>
            </a:extLst>
          </p:cNvPr>
          <p:cNvSpPr/>
          <p:nvPr userDrawn="1"/>
        </p:nvSpPr>
        <p:spPr>
          <a:xfrm>
            <a:off x="0" y="6498771"/>
            <a:ext cx="12192000" cy="359229"/>
          </a:xfrm>
          <a:prstGeom prst="rect">
            <a:avLst/>
          </a:prstGeom>
          <a:solidFill>
            <a:schemeClr val="bg2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2"/>
              </a:solidFill>
            </a:endParaRPr>
          </a:p>
        </p:txBody>
      </p:sp>
      <p:sp>
        <p:nvSpPr>
          <p:cNvPr id="10" name="Google Shape;519;p16">
            <a:extLst>
              <a:ext uri="{FF2B5EF4-FFF2-40B4-BE49-F238E27FC236}">
                <a16:creationId xmlns:a16="http://schemas.microsoft.com/office/drawing/2014/main" id="{E4F0ED0A-7132-2463-5C63-2479E93DDE3B}"/>
              </a:ext>
            </a:extLst>
          </p:cNvPr>
          <p:cNvSpPr/>
          <p:nvPr userDrawn="1"/>
        </p:nvSpPr>
        <p:spPr>
          <a:xfrm>
            <a:off x="11431039" y="6226058"/>
            <a:ext cx="547419" cy="545425"/>
          </a:xfrm>
          <a:prstGeom prst="ellipse">
            <a:avLst/>
          </a:prstGeom>
          <a:solidFill>
            <a:schemeClr val="tx2"/>
          </a:solidFill>
          <a:ln>
            <a:noFill/>
          </a:ln>
          <a:effectLst>
            <a:outerShdw blurRad="50800" dist="38100" dir="8100000" algn="tr" rotWithShape="0">
              <a:prstClr val="black">
                <a:alpha val="10348"/>
              </a:prst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B5E768BD-50E8-3B34-7927-E551BAC49DE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90017" y="6594232"/>
            <a:ext cx="828582" cy="168306"/>
          </a:xfrm>
          <a:prstGeom prst="rect">
            <a:avLst/>
          </a:prstGeom>
        </p:spPr>
      </p:pic>
      <p:sp>
        <p:nvSpPr>
          <p:cNvPr id="13" name="Google Shape;423;p13">
            <a:extLst>
              <a:ext uri="{FF2B5EF4-FFF2-40B4-BE49-F238E27FC236}">
                <a16:creationId xmlns:a16="http://schemas.microsoft.com/office/drawing/2014/main" id="{7804F221-EDDC-C8FC-8BAA-9ABC77737CFE}"/>
              </a:ext>
            </a:extLst>
          </p:cNvPr>
          <p:cNvSpPr txBox="1"/>
          <p:nvPr userDrawn="1"/>
        </p:nvSpPr>
        <p:spPr>
          <a:xfrm>
            <a:off x="11507512" y="6364038"/>
            <a:ext cx="394471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fld id="{EAB91DC4-3975-794F-B8BB-6E50AC3E5273}" type="slidenum">
              <a:rPr lang="en-US" sz="1200" smtClean="0">
                <a:latin typeface="Montserrat Light" pitchFamily="2" charset="77"/>
                <a:ea typeface="Roboto Condensed"/>
                <a:cs typeface="Roboto Condensed"/>
                <a:sym typeface="Roboto Condensed"/>
              </a:rPr>
              <a:t>‹#›</a:t>
            </a:fld>
            <a:endParaRPr sz="1200">
              <a:latin typeface="Montserrat Light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97899960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Blank w/ Footer+Waterm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38468951-EC50-F85C-C187-EC502D50C6E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8569938" y="-78888"/>
            <a:ext cx="7244123" cy="7015776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0C7B8C22-071D-4959-9B85-49B7B47C7BC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90017" y="6594232"/>
            <a:ext cx="828582" cy="168306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2911F0FC-0953-DC45-07B5-1E84D64F927D}"/>
              </a:ext>
            </a:extLst>
          </p:cNvPr>
          <p:cNvSpPr/>
          <p:nvPr userDrawn="1"/>
        </p:nvSpPr>
        <p:spPr>
          <a:xfrm>
            <a:off x="0" y="6498771"/>
            <a:ext cx="12192000" cy="359229"/>
          </a:xfrm>
          <a:prstGeom prst="rect">
            <a:avLst/>
          </a:prstGeom>
          <a:solidFill>
            <a:schemeClr val="tx1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Google Shape;519;p16">
            <a:extLst>
              <a:ext uri="{FF2B5EF4-FFF2-40B4-BE49-F238E27FC236}">
                <a16:creationId xmlns:a16="http://schemas.microsoft.com/office/drawing/2014/main" id="{EAFF9077-780D-4CD3-E45B-00BAC277858F}"/>
              </a:ext>
            </a:extLst>
          </p:cNvPr>
          <p:cNvSpPr/>
          <p:nvPr userDrawn="1"/>
        </p:nvSpPr>
        <p:spPr>
          <a:xfrm>
            <a:off x="11431039" y="6226058"/>
            <a:ext cx="547419" cy="545425"/>
          </a:xfrm>
          <a:prstGeom prst="ellipse">
            <a:avLst/>
          </a:prstGeom>
          <a:solidFill>
            <a:schemeClr val="tx2"/>
          </a:solidFill>
          <a:ln>
            <a:noFill/>
          </a:ln>
          <a:effectLst>
            <a:outerShdw blurRad="50800" dist="38100" dir="8100000" algn="tr" rotWithShape="0">
              <a:prstClr val="black">
                <a:alpha val="10348"/>
              </a:prst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" name="Google Shape;423;p13">
            <a:extLst>
              <a:ext uri="{FF2B5EF4-FFF2-40B4-BE49-F238E27FC236}">
                <a16:creationId xmlns:a16="http://schemas.microsoft.com/office/drawing/2014/main" id="{705F9D60-1A3C-2E7C-CDE8-5B16D9DC8397}"/>
              </a:ext>
            </a:extLst>
          </p:cNvPr>
          <p:cNvSpPr txBox="1"/>
          <p:nvPr userDrawn="1"/>
        </p:nvSpPr>
        <p:spPr>
          <a:xfrm>
            <a:off x="11507512" y="6364038"/>
            <a:ext cx="394471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fld id="{EAB91DC4-3975-794F-B8BB-6E50AC3E5273}" type="slidenum">
              <a:rPr lang="en-US" sz="1200" smtClean="0">
                <a:latin typeface="Montserrat Light" pitchFamily="2" charset="77"/>
                <a:ea typeface="Roboto Condensed"/>
                <a:cs typeface="Roboto Condensed"/>
                <a:sym typeface="Roboto Condensed"/>
              </a:rPr>
              <a:t>‹#›</a:t>
            </a:fld>
            <a:endParaRPr sz="1200">
              <a:latin typeface="Montserrat Light" pitchFamily="2" charset="77"/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5C90C116-68E8-FCA0-BF8A-F356CA6703D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90017" y="6594232"/>
            <a:ext cx="828582" cy="1683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59848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Blank w/ Footer+Waterm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38468951-EC50-F85C-C187-EC502D50C6E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2473938" y="-78888"/>
            <a:ext cx="7244123" cy="7015776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0C7B8C22-071D-4959-9B85-49B7B47C7BC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90017" y="6594232"/>
            <a:ext cx="828582" cy="168306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2911F0FC-0953-DC45-07B5-1E84D64F927D}"/>
              </a:ext>
            </a:extLst>
          </p:cNvPr>
          <p:cNvSpPr/>
          <p:nvPr userDrawn="1"/>
        </p:nvSpPr>
        <p:spPr>
          <a:xfrm>
            <a:off x="0" y="6498771"/>
            <a:ext cx="12192000" cy="359229"/>
          </a:xfrm>
          <a:prstGeom prst="rect">
            <a:avLst/>
          </a:prstGeom>
          <a:solidFill>
            <a:schemeClr val="tx1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Google Shape;519;p16">
            <a:extLst>
              <a:ext uri="{FF2B5EF4-FFF2-40B4-BE49-F238E27FC236}">
                <a16:creationId xmlns:a16="http://schemas.microsoft.com/office/drawing/2014/main" id="{EAFF9077-780D-4CD3-E45B-00BAC277858F}"/>
              </a:ext>
            </a:extLst>
          </p:cNvPr>
          <p:cNvSpPr/>
          <p:nvPr userDrawn="1"/>
        </p:nvSpPr>
        <p:spPr>
          <a:xfrm>
            <a:off x="11431039" y="6226058"/>
            <a:ext cx="547419" cy="545425"/>
          </a:xfrm>
          <a:prstGeom prst="ellipse">
            <a:avLst/>
          </a:prstGeom>
          <a:solidFill>
            <a:schemeClr val="tx2"/>
          </a:solidFill>
          <a:ln>
            <a:noFill/>
          </a:ln>
          <a:effectLst>
            <a:outerShdw blurRad="50800" dist="38100" dir="8100000" algn="tr" rotWithShape="0">
              <a:prstClr val="black">
                <a:alpha val="10348"/>
              </a:prst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" name="Google Shape;423;p13">
            <a:extLst>
              <a:ext uri="{FF2B5EF4-FFF2-40B4-BE49-F238E27FC236}">
                <a16:creationId xmlns:a16="http://schemas.microsoft.com/office/drawing/2014/main" id="{705F9D60-1A3C-2E7C-CDE8-5B16D9DC8397}"/>
              </a:ext>
            </a:extLst>
          </p:cNvPr>
          <p:cNvSpPr txBox="1"/>
          <p:nvPr userDrawn="1"/>
        </p:nvSpPr>
        <p:spPr>
          <a:xfrm>
            <a:off x="11507512" y="6364038"/>
            <a:ext cx="394471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fld id="{EAB91DC4-3975-794F-B8BB-6E50AC3E5273}" type="slidenum">
              <a:rPr lang="en-US" sz="1200" smtClean="0">
                <a:latin typeface="Montserrat Light" pitchFamily="2" charset="77"/>
                <a:ea typeface="Roboto Condensed"/>
                <a:cs typeface="Roboto Condensed"/>
                <a:sym typeface="Roboto Condensed"/>
              </a:rPr>
              <a:t>‹#›</a:t>
            </a:fld>
            <a:endParaRPr sz="1200">
              <a:latin typeface="Montserrat Light" pitchFamily="2" charset="77"/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5C90C116-68E8-FCA0-BF8A-F356CA6703D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90017" y="6594232"/>
            <a:ext cx="828582" cy="1683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783958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F80B4491-1EFD-8AE4-734D-F71920F573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CAB4C3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8ACC65A1-A26B-E9DE-5230-1E7E0D38AB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0492" y="2079038"/>
            <a:ext cx="6489210" cy="1136230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/>
              <a:t>Click here to add your title</a:t>
            </a:r>
            <a:endParaRPr lang="hu-HU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6CE0FAC8-DC12-DD62-3F64-91AD36E99BD2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810492" y="3259998"/>
            <a:ext cx="6489211" cy="1136230"/>
          </a:xfrm>
        </p:spPr>
        <p:txBody>
          <a:bodyPr>
            <a:norm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add subtitl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12C97046-BEFA-4A11-2847-9FE0BD98C19E}"/>
              </a:ext>
            </a:extLst>
          </p:cNvPr>
          <p:cNvSpPr>
            <a:spLocks noGrp="1"/>
          </p:cNvSpPr>
          <p:nvPr>
            <p:ph type="body" sz="half" idx="14" hasCustomPrompt="1"/>
          </p:nvPr>
        </p:nvSpPr>
        <p:spPr>
          <a:xfrm>
            <a:off x="810492" y="5790837"/>
            <a:ext cx="6489211" cy="690868"/>
          </a:xfrm>
        </p:spPr>
        <p:txBody>
          <a:bodyPr anchor="b">
            <a:normAutofit/>
          </a:bodyPr>
          <a:lstStyle>
            <a:lvl1pPr marL="0" indent="0" algn="l">
              <a:buNone/>
              <a:defRPr sz="2400" cap="all" baseline="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NAME OF PRESENTER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85C3DD1C-C8BF-52E3-AF96-171D6128E2C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10492" y="534631"/>
            <a:ext cx="1789273" cy="363447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7383B9A2-6420-CF1E-595E-60E312A77371}"/>
              </a:ext>
            </a:extLst>
          </p:cNvPr>
          <p:cNvSpPr/>
          <p:nvPr userDrawn="1"/>
        </p:nvSpPr>
        <p:spPr>
          <a:xfrm>
            <a:off x="893639" y="1945139"/>
            <a:ext cx="1284137" cy="13389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3A3C2EBF-C478-C333-7C8D-70DE4E4D3C0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719930" y="5790838"/>
            <a:ext cx="3012325" cy="690868"/>
          </a:xfrm>
          <a:prstGeom prst="rect">
            <a:avLst/>
          </a:prstGeom>
        </p:spPr>
        <p:txBody>
          <a:bodyPr anchor="b"/>
          <a:lstStyle>
            <a:lvl1pPr algn="r">
              <a:defRPr sz="1600">
                <a:solidFill>
                  <a:schemeClr val="bg1"/>
                </a:solidFill>
              </a:defRPr>
            </a:lvl1pPr>
          </a:lstStyle>
          <a:p>
            <a:fld id="{E6E320F8-A717-0848-9F77-518345B9133F}" type="datetime3">
              <a:rPr lang="en-US" smtClean="0"/>
              <a:pPr/>
              <a:t>10 April 2024</a:t>
            </a:fld>
            <a:endParaRPr lang="en-US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17204980-A9C4-3A50-1B54-E932FAE8DFC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flipH="1">
            <a:off x="8569938" y="-78888"/>
            <a:ext cx="7244123" cy="7015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261864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F80B4491-1EFD-8AE4-734D-F71920F573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CAB4C3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8ACC65A1-A26B-E9DE-5230-1E7E0D38AB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0492" y="2079038"/>
            <a:ext cx="6489210" cy="1136230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/>
              <a:t>Click here to add your title</a:t>
            </a:r>
            <a:endParaRPr lang="hu-HU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6CE0FAC8-DC12-DD62-3F64-91AD36E99BD2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810492" y="3259998"/>
            <a:ext cx="6489211" cy="1136230"/>
          </a:xfrm>
        </p:spPr>
        <p:txBody>
          <a:bodyPr>
            <a:norm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add subtitl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12C97046-BEFA-4A11-2847-9FE0BD98C19E}"/>
              </a:ext>
            </a:extLst>
          </p:cNvPr>
          <p:cNvSpPr>
            <a:spLocks noGrp="1"/>
          </p:cNvSpPr>
          <p:nvPr>
            <p:ph type="body" sz="half" idx="14" hasCustomPrompt="1"/>
          </p:nvPr>
        </p:nvSpPr>
        <p:spPr>
          <a:xfrm>
            <a:off x="810492" y="5790837"/>
            <a:ext cx="6489211" cy="690868"/>
          </a:xfrm>
        </p:spPr>
        <p:txBody>
          <a:bodyPr anchor="b">
            <a:normAutofit/>
          </a:bodyPr>
          <a:lstStyle>
            <a:lvl1pPr marL="0" indent="0" algn="l">
              <a:buNone/>
              <a:defRPr sz="2400" cap="all" baseline="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NAME OF PRESENTER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85C3DD1C-C8BF-52E3-AF96-171D6128E2C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10492" y="534631"/>
            <a:ext cx="1789273" cy="363447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7383B9A2-6420-CF1E-595E-60E312A77371}"/>
              </a:ext>
            </a:extLst>
          </p:cNvPr>
          <p:cNvSpPr/>
          <p:nvPr userDrawn="1"/>
        </p:nvSpPr>
        <p:spPr>
          <a:xfrm>
            <a:off x="893639" y="1945139"/>
            <a:ext cx="1284137" cy="13389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3A3C2EBF-C478-C333-7C8D-70DE4E4D3C0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719930" y="5790838"/>
            <a:ext cx="3012325" cy="690868"/>
          </a:xfrm>
          <a:prstGeom prst="rect">
            <a:avLst/>
          </a:prstGeom>
        </p:spPr>
        <p:txBody>
          <a:bodyPr anchor="b"/>
          <a:lstStyle>
            <a:lvl1pPr algn="r">
              <a:defRPr sz="1600">
                <a:solidFill>
                  <a:schemeClr val="bg1"/>
                </a:solidFill>
              </a:defRPr>
            </a:lvl1pPr>
          </a:lstStyle>
          <a:p>
            <a:fld id="{E6E320F8-A717-0848-9F77-518345B9133F}" type="datetime3">
              <a:rPr lang="en-US" smtClean="0"/>
              <a:pPr/>
              <a:t>10 April 2024</a:t>
            </a:fld>
            <a:endParaRPr lang="en-US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17204980-A9C4-3A50-1B54-E932FAE8DFC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flipH="1">
            <a:off x="8569938" y="-78888"/>
            <a:ext cx="7244123" cy="7015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261864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F80B4491-1EFD-8AE4-734D-F71920F573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CAB4C3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8ACC65A1-A26B-E9DE-5230-1E7E0D38AB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0492" y="2079038"/>
            <a:ext cx="6489210" cy="1136230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/>
              <a:t>Click here to add your title</a:t>
            </a:r>
            <a:endParaRPr lang="hu-HU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6CE0FAC8-DC12-DD62-3F64-91AD36E99BD2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810492" y="3259998"/>
            <a:ext cx="6489211" cy="1136230"/>
          </a:xfrm>
        </p:spPr>
        <p:txBody>
          <a:bodyPr>
            <a:norm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add subtitl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12C97046-BEFA-4A11-2847-9FE0BD98C19E}"/>
              </a:ext>
            </a:extLst>
          </p:cNvPr>
          <p:cNvSpPr>
            <a:spLocks noGrp="1"/>
          </p:cNvSpPr>
          <p:nvPr>
            <p:ph type="body" sz="half" idx="14" hasCustomPrompt="1"/>
          </p:nvPr>
        </p:nvSpPr>
        <p:spPr>
          <a:xfrm>
            <a:off x="810492" y="5790837"/>
            <a:ext cx="6489211" cy="690868"/>
          </a:xfrm>
        </p:spPr>
        <p:txBody>
          <a:bodyPr anchor="b">
            <a:normAutofit/>
          </a:bodyPr>
          <a:lstStyle>
            <a:lvl1pPr marL="0" indent="0" algn="l">
              <a:buNone/>
              <a:defRPr sz="2400" cap="all" baseline="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NAME OF PRESENTER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85C3DD1C-C8BF-52E3-AF96-171D6128E2C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10492" y="534631"/>
            <a:ext cx="1789273" cy="363447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7383B9A2-6420-CF1E-595E-60E312A77371}"/>
              </a:ext>
            </a:extLst>
          </p:cNvPr>
          <p:cNvSpPr/>
          <p:nvPr userDrawn="1"/>
        </p:nvSpPr>
        <p:spPr>
          <a:xfrm>
            <a:off x="893639" y="1945139"/>
            <a:ext cx="1284137" cy="13389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3A3C2EBF-C478-C333-7C8D-70DE4E4D3C0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719930" y="5790838"/>
            <a:ext cx="3012325" cy="690868"/>
          </a:xfrm>
          <a:prstGeom prst="rect">
            <a:avLst/>
          </a:prstGeom>
        </p:spPr>
        <p:txBody>
          <a:bodyPr anchor="b"/>
          <a:lstStyle>
            <a:lvl1pPr algn="r">
              <a:defRPr sz="1600">
                <a:solidFill>
                  <a:schemeClr val="bg1"/>
                </a:solidFill>
              </a:defRPr>
            </a:lvl1pPr>
          </a:lstStyle>
          <a:p>
            <a:fld id="{E6E320F8-A717-0848-9F77-518345B9133F}" type="datetime3">
              <a:rPr lang="en-US" smtClean="0"/>
              <a:pPr/>
              <a:t>10 April 2024</a:t>
            </a:fld>
            <a:endParaRPr lang="en-US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17204980-A9C4-3A50-1B54-E932FAE8DFC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flipH="1">
            <a:off x="8569938" y="-78888"/>
            <a:ext cx="7244123" cy="7015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26186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E5CE04-C121-2373-E7E4-45C22E1AEB4E}"/>
              </a:ext>
            </a:extLst>
          </p:cNvPr>
          <p:cNvSpPr txBox="1">
            <a:spLocks/>
          </p:cNvSpPr>
          <p:nvPr userDrawn="1"/>
        </p:nvSpPr>
        <p:spPr>
          <a:xfrm>
            <a:off x="810492" y="862770"/>
            <a:ext cx="10515600" cy="827918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80B4491-1EFD-8AE4-734D-F71920F573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" y="0"/>
            <a:ext cx="81153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CAB4C3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2D41AEC-0D4E-1EBB-14FF-34A3BCADD17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15300" y="0"/>
            <a:ext cx="4076699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CAB4C3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6" name="Picture Placeholder 16">
            <a:extLst>
              <a:ext uri="{FF2B5EF4-FFF2-40B4-BE49-F238E27FC236}">
                <a16:creationId xmlns:a16="http://schemas.microsoft.com/office/drawing/2014/main" id="{7A926941-2FF8-0130-FFCA-F2D164EA6F2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127830" y="0"/>
            <a:ext cx="4082983" cy="6858000"/>
          </a:xfrm>
        </p:spPr>
        <p:txBody>
          <a:bodyPr rtlCol="0"/>
          <a:lstStyle>
            <a:lvl1pPr marL="0" indent="0" algn="ctr">
              <a:buNone/>
              <a:defRPr/>
            </a:lvl1pPr>
          </a:lstStyle>
          <a:p>
            <a:pPr rtl="0"/>
            <a:r>
              <a:rPr lang="en-GB" noProof="0"/>
              <a:t>Click to add photo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12C97046-BEFA-4A11-2847-9FE0BD98C19E}"/>
              </a:ext>
            </a:extLst>
          </p:cNvPr>
          <p:cNvSpPr>
            <a:spLocks noGrp="1"/>
          </p:cNvSpPr>
          <p:nvPr>
            <p:ph type="body" sz="half" idx="14" hasCustomPrompt="1"/>
          </p:nvPr>
        </p:nvSpPr>
        <p:spPr>
          <a:xfrm>
            <a:off x="810493" y="5130744"/>
            <a:ext cx="6489210" cy="690868"/>
          </a:xfrm>
        </p:spPr>
        <p:txBody>
          <a:bodyPr anchor="b">
            <a:normAutofit/>
          </a:bodyPr>
          <a:lstStyle>
            <a:lvl1pPr marL="0" indent="0" algn="l">
              <a:buNone/>
              <a:defRPr sz="2400" cap="all" baseline="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NAME OF PRESENTER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4EF9F4A7-F9A7-A846-5470-6A34CA01DED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10492" y="534631"/>
            <a:ext cx="1789273" cy="363447"/>
          </a:xfrm>
          <a:prstGeom prst="rect">
            <a:avLst/>
          </a:prstGeom>
        </p:spPr>
      </p:pic>
      <p:sp>
        <p:nvSpPr>
          <p:cNvPr id="15" name="Title 1">
            <a:extLst>
              <a:ext uri="{FF2B5EF4-FFF2-40B4-BE49-F238E27FC236}">
                <a16:creationId xmlns:a16="http://schemas.microsoft.com/office/drawing/2014/main" id="{F4B6A8F7-6385-7502-172D-C185B27C5F5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0492" y="2079038"/>
            <a:ext cx="6489210" cy="1135236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/>
              <a:t>Click here to add your title</a:t>
            </a:r>
            <a:endParaRPr lang="hu-HU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C5A284E-CB8F-D1D8-F1D1-71BD61917F92}"/>
              </a:ext>
            </a:extLst>
          </p:cNvPr>
          <p:cNvSpPr/>
          <p:nvPr userDrawn="1"/>
        </p:nvSpPr>
        <p:spPr>
          <a:xfrm>
            <a:off x="893639" y="1945139"/>
            <a:ext cx="1284137" cy="13389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2411A59C-AF39-9B43-3EAF-C82D89611F6C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810490" y="3234806"/>
            <a:ext cx="6489211" cy="1136230"/>
          </a:xfrm>
        </p:spPr>
        <p:txBody>
          <a:bodyPr>
            <a:norm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add subtitle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46CB9639-6B6F-775F-2940-E6B762AAA1A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10491" y="6029646"/>
            <a:ext cx="6489210" cy="309966"/>
          </a:xfrm>
          <a:prstGeom prst="rect">
            <a:avLst/>
          </a:prstGeom>
        </p:spPr>
        <p:txBody>
          <a:bodyPr anchor="b"/>
          <a:lstStyle>
            <a:lvl1pPr algn="l">
              <a:defRPr sz="1600">
                <a:solidFill>
                  <a:schemeClr val="bg1"/>
                </a:solidFill>
              </a:defRPr>
            </a:lvl1pPr>
          </a:lstStyle>
          <a:p>
            <a:fld id="{E6E320F8-A717-0848-9F77-518345B9133F}" type="datetime3">
              <a:rPr lang="en-US" smtClean="0"/>
              <a:pPr/>
              <a:t>10 April 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92151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57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heme" Target="../theme/theme1.xml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slideLayout" Target="../slideLayouts/slideLayout47.xml"/><Relationship Id="rId18" Type="http://schemas.openxmlformats.org/officeDocument/2006/relationships/slideLayout" Target="../slideLayouts/slideLayout52.xml"/><Relationship Id="rId3" Type="http://schemas.openxmlformats.org/officeDocument/2006/relationships/slideLayout" Target="../slideLayouts/slideLayout37.xml"/><Relationship Id="rId21" Type="http://schemas.openxmlformats.org/officeDocument/2006/relationships/slideLayout" Target="../slideLayouts/slideLayout55.xml"/><Relationship Id="rId7" Type="http://schemas.openxmlformats.org/officeDocument/2006/relationships/slideLayout" Target="../slideLayouts/slideLayout41.xml"/><Relationship Id="rId12" Type="http://schemas.openxmlformats.org/officeDocument/2006/relationships/slideLayout" Target="../slideLayouts/slideLayout46.xml"/><Relationship Id="rId17" Type="http://schemas.openxmlformats.org/officeDocument/2006/relationships/slideLayout" Target="../slideLayouts/slideLayout51.xml"/><Relationship Id="rId2" Type="http://schemas.openxmlformats.org/officeDocument/2006/relationships/slideLayout" Target="../slideLayouts/slideLayout36.xml"/><Relationship Id="rId16" Type="http://schemas.openxmlformats.org/officeDocument/2006/relationships/slideLayout" Target="../slideLayouts/slideLayout50.xml"/><Relationship Id="rId20" Type="http://schemas.openxmlformats.org/officeDocument/2006/relationships/slideLayout" Target="../slideLayouts/slideLayout54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5" Type="http://schemas.openxmlformats.org/officeDocument/2006/relationships/slideLayout" Target="../slideLayouts/slideLayout39.xml"/><Relationship Id="rId15" Type="http://schemas.openxmlformats.org/officeDocument/2006/relationships/slideLayout" Target="../slideLayouts/slideLayout49.xml"/><Relationship Id="rId23" Type="http://schemas.openxmlformats.org/officeDocument/2006/relationships/theme" Target="../theme/theme2.xml"/><Relationship Id="rId10" Type="http://schemas.openxmlformats.org/officeDocument/2006/relationships/slideLayout" Target="../slideLayouts/slideLayout44.xml"/><Relationship Id="rId19" Type="http://schemas.openxmlformats.org/officeDocument/2006/relationships/slideLayout" Target="../slideLayouts/slideLayout53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4" Type="http://schemas.openxmlformats.org/officeDocument/2006/relationships/slideLayout" Target="../slideLayouts/slideLayout48.xml"/><Relationship Id="rId22" Type="http://schemas.openxmlformats.org/officeDocument/2006/relationships/slideLayout" Target="../slideLayouts/slideLayout5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73C7A89-D87B-070A-DEFC-27942FFAF0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hu-HU"/>
          </a:p>
        </p:txBody>
      </p: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23B5E2E8-3335-EAA7-2F05-F33C75983E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862770"/>
            <a:ext cx="10515600" cy="8279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GB"/>
              <a:t>Add your 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28440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  <p:sldLayoutId id="2147483734" r:id="rId2"/>
    <p:sldLayoutId id="2147483735" r:id="rId3"/>
    <p:sldLayoutId id="2147483736" r:id="rId4"/>
    <p:sldLayoutId id="2147483737" r:id="rId5"/>
    <p:sldLayoutId id="2147483725" r:id="rId6"/>
    <p:sldLayoutId id="2147483720" r:id="rId7"/>
    <p:sldLayoutId id="2147483701" r:id="rId8"/>
    <p:sldLayoutId id="2147483699" r:id="rId9"/>
    <p:sldLayoutId id="2147483726" r:id="rId10"/>
    <p:sldLayoutId id="2147483727" r:id="rId11"/>
    <p:sldLayoutId id="2147483728" r:id="rId12"/>
    <p:sldLayoutId id="2147483721" r:id="rId13"/>
    <p:sldLayoutId id="2147483722" r:id="rId14"/>
    <p:sldLayoutId id="2147483723" r:id="rId15"/>
    <p:sldLayoutId id="2147483692" r:id="rId16"/>
    <p:sldLayoutId id="2147483689" r:id="rId17"/>
    <p:sldLayoutId id="2147483682" r:id="rId18"/>
    <p:sldLayoutId id="2147483702" r:id="rId19"/>
    <p:sldLayoutId id="2147483738" r:id="rId20"/>
    <p:sldLayoutId id="2147483729" r:id="rId21"/>
    <p:sldLayoutId id="2147483724" r:id="rId22"/>
    <p:sldLayoutId id="2147483700" r:id="rId23"/>
    <p:sldLayoutId id="2147483704" r:id="rId24"/>
    <p:sldLayoutId id="2147483705" r:id="rId25"/>
    <p:sldLayoutId id="2147483703" r:id="rId26"/>
    <p:sldLayoutId id="2147483739" r:id="rId27"/>
    <p:sldLayoutId id="2147483730" r:id="rId28"/>
    <p:sldLayoutId id="2147483731" r:id="rId29"/>
    <p:sldLayoutId id="2147483732" r:id="rId30"/>
    <p:sldLayoutId id="2147483717" r:id="rId31"/>
    <p:sldLayoutId id="2147483718" r:id="rId32"/>
    <p:sldLayoutId id="2147483719" r:id="rId33"/>
    <p:sldLayoutId id="2147483740" r:id="rId34"/>
  </p:sldLayoutIdLst>
  <p:hf sldNum="0" hdr="0" ft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600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tx1"/>
        </a:buClr>
        <a:buSzPct val="100000"/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1"/>
        </a:buClr>
        <a:buSzPct val="100000"/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1"/>
        </a:buClr>
        <a:buSzPct val="100000"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1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1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A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73C7A89-D87B-070A-DEFC-27942FFAF0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hu-HU"/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6A0834F2-06B9-E461-03A8-603772E27B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862770"/>
            <a:ext cx="10515600" cy="8279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2297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8" r:id="rId1"/>
    <p:sldLayoutId id="2147483681" r:id="rId2"/>
    <p:sldLayoutId id="2147483683" r:id="rId3"/>
    <p:sldLayoutId id="2147483706" r:id="rId4"/>
    <p:sldLayoutId id="2147483716" r:id="rId5"/>
    <p:sldLayoutId id="2147483684" r:id="rId6"/>
    <p:sldLayoutId id="2147483652" r:id="rId7"/>
    <p:sldLayoutId id="2147483656" r:id="rId8"/>
    <p:sldLayoutId id="2147483694" r:id="rId9"/>
    <p:sldLayoutId id="2147483697" r:id="rId10"/>
    <p:sldLayoutId id="2147483696" r:id="rId11"/>
    <p:sldLayoutId id="2147483685" r:id="rId12"/>
    <p:sldLayoutId id="2147483686" r:id="rId13"/>
    <p:sldLayoutId id="2147483707" r:id="rId14"/>
    <p:sldLayoutId id="2147483708" r:id="rId15"/>
    <p:sldLayoutId id="2147483715" r:id="rId16"/>
    <p:sldLayoutId id="2147483709" r:id="rId17"/>
    <p:sldLayoutId id="2147483710" r:id="rId18"/>
    <p:sldLayoutId id="2147483712" r:id="rId19"/>
    <p:sldLayoutId id="2147483713" r:id="rId20"/>
    <p:sldLayoutId id="2147483711" r:id="rId21"/>
    <p:sldLayoutId id="2147483714" r:id="rId22"/>
  </p:sldLayoutIdLst>
  <p:hf sldNum="0" hdr="0" ft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200" strike="noStrike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tx1"/>
        </a:buClr>
        <a:buSzPct val="100000"/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1"/>
        </a:buClr>
        <a:buSzPct val="100000"/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1"/>
        </a:buClr>
        <a:buSzPct val="100000"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1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1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A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15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code.quarkus.io/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5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5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5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5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3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5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4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5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19.svg"/><Relationship Id="rId18" Type="http://schemas.openxmlformats.org/officeDocument/2006/relationships/image" Target="../media/image24.jpeg"/><Relationship Id="rId3" Type="http://schemas.openxmlformats.org/officeDocument/2006/relationships/tags" Target="../tags/tag3.xml"/><Relationship Id="rId21" Type="http://schemas.openxmlformats.org/officeDocument/2006/relationships/image" Target="../media/image27.png"/><Relationship Id="rId7" Type="http://schemas.openxmlformats.org/officeDocument/2006/relationships/tags" Target="../tags/tag7.xml"/><Relationship Id="rId12" Type="http://schemas.openxmlformats.org/officeDocument/2006/relationships/image" Target="../media/image18.png"/><Relationship Id="rId17" Type="http://schemas.openxmlformats.org/officeDocument/2006/relationships/image" Target="../media/image23.jpeg"/><Relationship Id="rId25" Type="http://schemas.openxmlformats.org/officeDocument/2006/relationships/image" Target="../media/image31.svg"/><Relationship Id="rId2" Type="http://schemas.openxmlformats.org/officeDocument/2006/relationships/tags" Target="../tags/tag2.xml"/><Relationship Id="rId16" Type="http://schemas.openxmlformats.org/officeDocument/2006/relationships/image" Target="../media/image22.jpeg"/><Relationship Id="rId20" Type="http://schemas.openxmlformats.org/officeDocument/2006/relationships/image" Target="../media/image26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17.png"/><Relationship Id="rId24" Type="http://schemas.openxmlformats.org/officeDocument/2006/relationships/image" Target="../media/image30.png"/><Relationship Id="rId5" Type="http://schemas.openxmlformats.org/officeDocument/2006/relationships/tags" Target="../tags/tag5.xml"/><Relationship Id="rId15" Type="http://schemas.openxmlformats.org/officeDocument/2006/relationships/image" Target="../media/image21.png"/><Relationship Id="rId23" Type="http://schemas.openxmlformats.org/officeDocument/2006/relationships/image" Target="../media/image29.jpeg"/><Relationship Id="rId10" Type="http://schemas.openxmlformats.org/officeDocument/2006/relationships/slideLayout" Target="../slideLayouts/slideLayout27.xml"/><Relationship Id="rId19" Type="http://schemas.openxmlformats.org/officeDocument/2006/relationships/image" Target="../media/image25.png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20.png"/><Relationship Id="rId22" Type="http://schemas.openxmlformats.org/officeDocument/2006/relationships/image" Target="../media/image28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svg"/><Relationship Id="rId3" Type="http://schemas.openxmlformats.org/officeDocument/2006/relationships/image" Target="../media/image32.png"/><Relationship Id="rId7" Type="http://schemas.openxmlformats.org/officeDocument/2006/relationships/image" Target="../media/image3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35.svg"/><Relationship Id="rId5" Type="http://schemas.openxmlformats.org/officeDocument/2006/relationships/image" Target="../media/image34.png"/><Relationship Id="rId10" Type="http://schemas.openxmlformats.org/officeDocument/2006/relationships/image" Target="../media/image39.svg"/><Relationship Id="rId4" Type="http://schemas.openxmlformats.org/officeDocument/2006/relationships/image" Target="../media/image33.svg"/><Relationship Id="rId9" Type="http://schemas.openxmlformats.org/officeDocument/2006/relationships/image" Target="../media/image38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996A6497-FF70-33B7-0E77-6A7B50ADC6E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926733" y="2383334"/>
            <a:ext cx="5178725" cy="1051931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BE0D70B8-682D-A0D4-FAA8-FBB1006DD1BD}"/>
              </a:ext>
            </a:extLst>
          </p:cNvPr>
          <p:cNvSpPr txBox="1"/>
          <p:nvPr/>
        </p:nvSpPr>
        <p:spPr>
          <a:xfrm>
            <a:off x="5829751" y="3661678"/>
            <a:ext cx="5472433" cy="120032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2400">
                <a:ea typeface="+mn-lt"/>
                <a:cs typeface="+mn-lt"/>
              </a:rPr>
              <a:t>Your guiding light to innovation</a:t>
            </a:r>
            <a:endParaRPr lang="en-US"/>
          </a:p>
          <a:p>
            <a:endParaRPr lang="en-US" sz="2400"/>
          </a:p>
          <a:p>
            <a:endParaRPr lang="en-US" sz="2400"/>
          </a:p>
        </p:txBody>
      </p:sp>
      <p:pic>
        <p:nvPicPr>
          <p:cNvPr id="6" name="Picture 5" descr="A picture containing text, building, tower&#10;&#10;Description automatically generated">
            <a:extLst>
              <a:ext uri="{FF2B5EF4-FFF2-40B4-BE49-F238E27FC236}">
                <a16:creationId xmlns:a16="http://schemas.microsoft.com/office/drawing/2014/main" id="{17638E4A-1022-6D18-8DFA-F547FAC6FCE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3551" y="116378"/>
            <a:ext cx="3934629" cy="6470421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2D06BA83-C079-3E99-D3AE-0E28997A03C2}"/>
              </a:ext>
            </a:extLst>
          </p:cNvPr>
          <p:cNvSpPr/>
          <p:nvPr/>
        </p:nvSpPr>
        <p:spPr>
          <a:xfrm>
            <a:off x="0" y="6506677"/>
            <a:ext cx="12192000" cy="35132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noFill/>
              </a:ln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946157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895A32-A20E-F943-746B-320EFEEA85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oduction </a:t>
            </a:r>
            <a:r>
              <a:rPr lang="en-US" dirty="0" err="1"/>
              <a:t>quarkus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1319A92-354A-39AA-73FC-9D4B0F6FB5B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Low startup times, low memory usage</a:t>
            </a:r>
          </a:p>
          <a:p>
            <a:r>
              <a:rPr lang="en-US" dirty="0"/>
              <a:t>AOT (ahead-of-time) compilation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573B6B2-5ADA-751E-8F78-360C6339B3D0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r>
              <a:rPr lang="en-US" dirty="0"/>
              <a:t>Improve performance of Java applications</a:t>
            </a:r>
          </a:p>
        </p:txBody>
      </p:sp>
    </p:spTree>
    <p:extLst>
      <p:ext uri="{BB962C8B-B14F-4D97-AF65-F5344CB8AC3E}">
        <p14:creationId xmlns:p14="http://schemas.microsoft.com/office/powerpoint/2010/main" val="64644274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895A32-A20E-F943-746B-320EFEEA85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oduction </a:t>
            </a:r>
            <a:r>
              <a:rPr lang="en-US" dirty="0" err="1"/>
              <a:t>quarkus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1319A92-354A-39AA-73FC-9D4B0F6FB5B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sz="2400" dirty="0"/>
              <a:t>Builds on top of proven standards:</a:t>
            </a:r>
          </a:p>
          <a:p>
            <a:pPr lvl="1"/>
            <a:r>
              <a:rPr lang="en-GB" sz="2000" dirty="0"/>
              <a:t>Eclipse </a:t>
            </a:r>
            <a:r>
              <a:rPr lang="en-GB" sz="2000" dirty="0" err="1"/>
              <a:t>MicroProfile</a:t>
            </a:r>
            <a:endParaRPr lang="en-GB" sz="2000" dirty="0"/>
          </a:p>
          <a:p>
            <a:pPr lvl="1"/>
            <a:r>
              <a:rPr lang="en-GB" sz="2000" dirty="0" err="1"/>
              <a:t>Vert.x</a:t>
            </a:r>
            <a:endParaRPr lang="en-GB" sz="2000" dirty="0"/>
          </a:p>
          <a:p>
            <a:pPr lvl="1"/>
            <a:r>
              <a:rPr lang="en-GB" sz="2000" dirty="0"/>
              <a:t>JAX-RS</a:t>
            </a:r>
          </a:p>
          <a:p>
            <a:pPr marL="457200" lvl="1" indent="0">
              <a:buNone/>
            </a:pP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573B6B2-5ADA-751E-8F78-360C6339B3D0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r>
              <a:rPr lang="en-GB" dirty="0"/>
              <a:t>Everything new?</a:t>
            </a:r>
          </a:p>
        </p:txBody>
      </p:sp>
    </p:spTree>
    <p:extLst>
      <p:ext uri="{BB962C8B-B14F-4D97-AF65-F5344CB8AC3E}">
        <p14:creationId xmlns:p14="http://schemas.microsoft.com/office/powerpoint/2010/main" val="96831698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895A32-A20E-F943-746B-320EFEEA85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oduction </a:t>
            </a:r>
            <a:r>
              <a:rPr lang="en-US" dirty="0" err="1"/>
              <a:t>quarkus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1319A92-354A-39AA-73FC-9D4B0F6FB5B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Wide range of features and extensions</a:t>
            </a:r>
          </a:p>
          <a:p>
            <a:pPr lvl="1"/>
            <a:r>
              <a:rPr lang="en-GB" dirty="0"/>
              <a:t>Reactive programming</a:t>
            </a:r>
          </a:p>
          <a:p>
            <a:pPr lvl="1"/>
            <a:r>
              <a:rPr lang="en-GB" dirty="0"/>
              <a:t>Microservice support</a:t>
            </a:r>
          </a:p>
          <a:p>
            <a:pPr lvl="1"/>
            <a:r>
              <a:rPr lang="en-GB" dirty="0"/>
              <a:t>REST messaging frameworks</a:t>
            </a:r>
          </a:p>
          <a:p>
            <a:pPr lvl="1"/>
            <a:r>
              <a:rPr lang="en-GB" dirty="0"/>
              <a:t>Database access</a:t>
            </a:r>
          </a:p>
          <a:p>
            <a:pPr lvl="1"/>
            <a:r>
              <a:rPr lang="en-GB" dirty="0"/>
              <a:t>Integration with Kubernetes</a:t>
            </a:r>
          </a:p>
          <a:p>
            <a:pPr lvl="1"/>
            <a:endParaRPr lang="en-GB" dirty="0"/>
          </a:p>
          <a:p>
            <a:r>
              <a:rPr lang="en-US" dirty="0">
                <a:hlinkClick r:id="rId3"/>
              </a:rPr>
              <a:t>https://</a:t>
            </a:r>
            <a:r>
              <a:rPr lang="en-US" dirty="0" err="1">
                <a:hlinkClick r:id="rId3"/>
              </a:rPr>
              <a:t>code.quarkus.io</a:t>
            </a:r>
            <a:r>
              <a:rPr lang="en-US" dirty="0">
                <a:hlinkClick r:id="rId3"/>
              </a:rPr>
              <a:t>/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573B6B2-5ADA-751E-8F78-360C6339B3D0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r>
              <a:rPr lang="en-GB" dirty="0"/>
              <a:t>Enhance the productivity of Java developers</a:t>
            </a:r>
          </a:p>
        </p:txBody>
      </p:sp>
    </p:spTree>
    <p:extLst>
      <p:ext uri="{BB962C8B-B14F-4D97-AF65-F5344CB8AC3E}">
        <p14:creationId xmlns:p14="http://schemas.microsoft.com/office/powerpoint/2010/main" val="192682925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D61D8D-5EC2-49BA-493F-4E9216795D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ntegration with Kubernetes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3B05244-76B3-D904-2434-B1063ED7B92A}"/>
              </a:ext>
            </a:extLst>
          </p:cNvPr>
          <p:cNvSpPr>
            <a:spLocks noGrp="1"/>
          </p:cNvSpPr>
          <p:nvPr>
            <p:ph type="body" sz="half" idx="14"/>
          </p:nvPr>
        </p:nvSpPr>
        <p:spPr/>
        <p:txBody>
          <a:bodyPr/>
          <a:lstStyle/>
          <a:p>
            <a:r>
              <a:rPr lang="en-US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139430161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895A32-A20E-F943-746B-320EFEEA85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gration WITH </a:t>
            </a:r>
            <a:r>
              <a:rPr lang="en-US" dirty="0" err="1"/>
              <a:t>KUBernetes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573B6B2-5ADA-751E-8F78-360C6339B3D0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r>
              <a:rPr lang="en-US" dirty="0"/>
              <a:t>Example with 2 Microservices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F153C36B-16A7-86A1-5FE5-66BD55C102A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1974598" y="2187575"/>
            <a:ext cx="8242803" cy="39893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892824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895A32-A20E-F943-746B-320EFEEA85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ntegration with Kubernetes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1319A92-354A-39AA-73FC-9D4B0F6FB5B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sz="2400" dirty="0"/>
              <a:t>Open-source platform for </a:t>
            </a:r>
          </a:p>
          <a:p>
            <a:pPr lvl="1"/>
            <a:r>
              <a:rPr lang="en-GB" sz="2000" dirty="0"/>
              <a:t>automating, </a:t>
            </a:r>
          </a:p>
          <a:p>
            <a:pPr lvl="1"/>
            <a:r>
              <a:rPr lang="en-GB" sz="2000" dirty="0"/>
              <a:t>deploying, </a:t>
            </a:r>
          </a:p>
          <a:p>
            <a:pPr lvl="1"/>
            <a:r>
              <a:rPr lang="en-GB" sz="2000" dirty="0"/>
              <a:t>scaling, </a:t>
            </a:r>
          </a:p>
          <a:p>
            <a:pPr lvl="1"/>
            <a:r>
              <a:rPr lang="en-GB" sz="2000" dirty="0"/>
              <a:t>and managing containerized applications. 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573B6B2-5ADA-751E-8F78-360C6339B3D0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r>
              <a:rPr lang="en-GB" dirty="0"/>
              <a:t>What is Kubernetes</a:t>
            </a:r>
          </a:p>
        </p:txBody>
      </p:sp>
    </p:spTree>
    <p:extLst>
      <p:ext uri="{BB962C8B-B14F-4D97-AF65-F5344CB8AC3E}">
        <p14:creationId xmlns:p14="http://schemas.microsoft.com/office/powerpoint/2010/main" val="63837635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895A32-A20E-F943-746B-320EFEEA85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ntegration with Kubernetes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1319A92-354A-39AA-73FC-9D4B0F6FB5B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sz="2400" dirty="0"/>
              <a:t>Configuration</a:t>
            </a:r>
          </a:p>
          <a:p>
            <a:pPr lvl="1"/>
            <a:r>
              <a:rPr lang="en-GB" sz="2000" dirty="0" err="1"/>
              <a:t>src</a:t>
            </a:r>
            <a:r>
              <a:rPr lang="en-GB" sz="2000" dirty="0"/>
              <a:t>/main/</a:t>
            </a:r>
            <a:r>
              <a:rPr lang="en-GB" sz="2000" dirty="0" err="1"/>
              <a:t>application.properties</a:t>
            </a:r>
            <a:r>
              <a:rPr lang="en-GB" sz="2000" dirty="0"/>
              <a:t> </a:t>
            </a:r>
          </a:p>
          <a:p>
            <a:pPr lvl="1"/>
            <a:r>
              <a:rPr lang="en-GB" sz="2000" dirty="0" err="1"/>
              <a:t>ConfigMap</a:t>
            </a:r>
            <a:endParaRPr lang="en-GB" sz="2000" dirty="0"/>
          </a:p>
          <a:p>
            <a:pPr lvl="1"/>
            <a:r>
              <a:rPr lang="en-GB" sz="2000" dirty="0" err="1"/>
              <a:t>Enverionment</a:t>
            </a:r>
            <a:r>
              <a:rPr lang="en-GB" sz="2000" dirty="0"/>
              <a:t> variables</a:t>
            </a:r>
          </a:p>
          <a:p>
            <a:pPr lvl="1"/>
            <a:endParaRPr lang="en-GB" sz="2000" dirty="0"/>
          </a:p>
          <a:p>
            <a:r>
              <a:rPr lang="en-GB" sz="2400" dirty="0"/>
              <a:t>Staging</a:t>
            </a:r>
          </a:p>
          <a:p>
            <a:pPr lvl="1"/>
            <a:r>
              <a:rPr lang="en-GB" sz="2000" dirty="0"/>
              <a:t>With %[stage].[property-name]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573B6B2-5ADA-751E-8F78-360C6339B3D0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r>
              <a:rPr lang="en-GB" dirty="0" err="1"/>
              <a:t>Quarkus</a:t>
            </a:r>
            <a:r>
              <a:rPr lang="en-GB" dirty="0"/>
              <a:t> basics</a:t>
            </a:r>
          </a:p>
        </p:txBody>
      </p:sp>
    </p:spTree>
    <p:extLst>
      <p:ext uri="{BB962C8B-B14F-4D97-AF65-F5344CB8AC3E}">
        <p14:creationId xmlns:p14="http://schemas.microsoft.com/office/powerpoint/2010/main" val="303100592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895A32-A20E-F943-746B-320EFEEA85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ntegration with Kubernetes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1319A92-354A-39AA-73FC-9D4B0F6FB5B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sz="2400" dirty="0"/>
              <a:t>Configuration</a:t>
            </a:r>
          </a:p>
          <a:p>
            <a:pPr lvl="1"/>
            <a:r>
              <a:rPr lang="en-GB" sz="2000" dirty="0" err="1"/>
              <a:t>src</a:t>
            </a:r>
            <a:r>
              <a:rPr lang="en-GB" sz="2000" dirty="0"/>
              <a:t>/main/</a:t>
            </a:r>
            <a:r>
              <a:rPr lang="en-GB" sz="2000" dirty="0" err="1"/>
              <a:t>application.properties</a:t>
            </a:r>
            <a:r>
              <a:rPr lang="en-GB" sz="2000" dirty="0"/>
              <a:t> </a:t>
            </a:r>
          </a:p>
          <a:p>
            <a:pPr lvl="1"/>
            <a:r>
              <a:rPr lang="en-GB" sz="2000" dirty="0" err="1"/>
              <a:t>ConfigMap</a:t>
            </a:r>
            <a:endParaRPr lang="en-GB" sz="2000" dirty="0"/>
          </a:p>
          <a:p>
            <a:pPr lvl="1"/>
            <a:r>
              <a:rPr lang="en-GB" sz="2000" dirty="0" err="1"/>
              <a:t>Enverionment</a:t>
            </a:r>
            <a:r>
              <a:rPr lang="en-GB" sz="2000" dirty="0"/>
              <a:t> variables</a:t>
            </a:r>
          </a:p>
          <a:p>
            <a:pPr lvl="1"/>
            <a:endParaRPr lang="en-GB" sz="2000" dirty="0"/>
          </a:p>
          <a:p>
            <a:r>
              <a:rPr lang="en-GB" sz="2400" dirty="0"/>
              <a:t>Staging</a:t>
            </a:r>
          </a:p>
          <a:p>
            <a:pPr lvl="1"/>
            <a:r>
              <a:rPr lang="en-GB" sz="2000" dirty="0"/>
              <a:t>With %[stage].[property-name]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573B6B2-5ADA-751E-8F78-360C6339B3D0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r>
              <a:rPr lang="en-GB" dirty="0" err="1"/>
              <a:t>Quarkus</a:t>
            </a:r>
            <a:r>
              <a:rPr lang="en-GB" dirty="0"/>
              <a:t> basics</a:t>
            </a:r>
          </a:p>
        </p:txBody>
      </p:sp>
    </p:spTree>
    <p:extLst>
      <p:ext uri="{BB962C8B-B14F-4D97-AF65-F5344CB8AC3E}">
        <p14:creationId xmlns:p14="http://schemas.microsoft.com/office/powerpoint/2010/main" val="290279693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895A32-A20E-F943-746B-320EFEEA85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ntegration with Kubernetes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1319A92-354A-39AA-73FC-9D4B0F6FB5B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One-step Kubernetes deployment</a:t>
            </a:r>
          </a:p>
          <a:p>
            <a:r>
              <a:rPr lang="en-US" dirty="0"/>
              <a:t>Direct Secret and </a:t>
            </a:r>
            <a:r>
              <a:rPr lang="en-US" dirty="0" err="1"/>
              <a:t>ConfigMap</a:t>
            </a:r>
            <a:r>
              <a:rPr lang="en-US" dirty="0"/>
              <a:t> access</a:t>
            </a:r>
          </a:p>
          <a:p>
            <a:r>
              <a:rPr lang="en-US" dirty="0"/>
              <a:t>Health endpoints</a:t>
            </a:r>
          </a:p>
          <a:p>
            <a:r>
              <a:rPr lang="en-US" dirty="0" err="1"/>
              <a:t>OpenTracing</a:t>
            </a:r>
            <a:endParaRPr lang="en-US" dirty="0"/>
          </a:p>
          <a:p>
            <a:r>
              <a:rPr lang="en-US" dirty="0" err="1"/>
              <a:t>OpenMetrics</a:t>
            </a:r>
            <a:endParaRPr lang="en-US" dirty="0"/>
          </a:p>
          <a:p>
            <a:r>
              <a:rPr lang="en-US" dirty="0"/>
              <a:t>Kubernetes Client </a:t>
            </a:r>
            <a:r>
              <a:rPr lang="en-US" dirty="0" err="1"/>
              <a:t>Api</a:t>
            </a:r>
            <a:endParaRPr lang="en-US" dirty="0"/>
          </a:p>
          <a:p>
            <a:r>
              <a:rPr lang="en-US" dirty="0"/>
              <a:t>….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573B6B2-5ADA-751E-8F78-360C6339B3D0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r>
              <a:rPr lang="en-GB" dirty="0" err="1"/>
              <a:t>Quarkus</a:t>
            </a:r>
            <a:r>
              <a:rPr lang="en-GB" dirty="0"/>
              <a:t> Kubernetes Features</a:t>
            </a:r>
          </a:p>
        </p:txBody>
      </p:sp>
    </p:spTree>
    <p:extLst>
      <p:ext uri="{BB962C8B-B14F-4D97-AF65-F5344CB8AC3E}">
        <p14:creationId xmlns:p14="http://schemas.microsoft.com/office/powerpoint/2010/main" val="259151956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895A32-A20E-F943-746B-320EFEEA85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ntegration with Kubernetes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1319A92-354A-39AA-73FC-9D4B0F6FB5B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GB" dirty="0">
                <a:effectLst/>
              </a:rPr>
              <a:t>&lt;dependency&gt;</a:t>
            </a:r>
            <a:br>
              <a:rPr lang="en-GB" dirty="0">
                <a:effectLst/>
              </a:rPr>
            </a:br>
            <a:r>
              <a:rPr lang="en-GB" dirty="0">
                <a:effectLst/>
              </a:rPr>
              <a:t>  &lt;</a:t>
            </a:r>
            <a:r>
              <a:rPr lang="en-GB" dirty="0" err="1">
                <a:effectLst/>
              </a:rPr>
              <a:t>groupId</a:t>
            </a:r>
            <a:r>
              <a:rPr lang="en-GB" dirty="0">
                <a:effectLst/>
              </a:rPr>
              <a:t>&gt;</a:t>
            </a:r>
            <a:r>
              <a:rPr lang="en-GB" dirty="0" err="1"/>
              <a:t>io.quarkus</a:t>
            </a:r>
            <a:r>
              <a:rPr lang="en-GB" dirty="0">
                <a:effectLst/>
              </a:rPr>
              <a:t>&lt;/</a:t>
            </a:r>
            <a:r>
              <a:rPr lang="en-GB" dirty="0" err="1">
                <a:effectLst/>
              </a:rPr>
              <a:t>groupId</a:t>
            </a:r>
            <a:r>
              <a:rPr lang="en-GB" dirty="0">
                <a:effectLst/>
              </a:rPr>
              <a:t>&gt;</a:t>
            </a:r>
            <a:br>
              <a:rPr lang="en-GB" dirty="0">
                <a:effectLst/>
              </a:rPr>
            </a:br>
            <a:r>
              <a:rPr lang="en-GB" dirty="0">
                <a:effectLst/>
              </a:rPr>
              <a:t>  &lt;</a:t>
            </a:r>
            <a:r>
              <a:rPr lang="en-GB" dirty="0" err="1">
                <a:effectLst/>
              </a:rPr>
              <a:t>artifactId</a:t>
            </a:r>
            <a:r>
              <a:rPr lang="en-GB" dirty="0">
                <a:effectLst/>
              </a:rPr>
              <a:t>&gt;</a:t>
            </a:r>
            <a:r>
              <a:rPr lang="en-GB" dirty="0" err="1"/>
              <a:t>quarkus-kubernetes</a:t>
            </a:r>
            <a:r>
              <a:rPr lang="en-GB" dirty="0">
                <a:effectLst/>
              </a:rPr>
              <a:t>&lt;/</a:t>
            </a:r>
            <a:r>
              <a:rPr lang="en-GB" dirty="0" err="1">
                <a:effectLst/>
              </a:rPr>
              <a:t>artifactId</a:t>
            </a:r>
            <a:r>
              <a:rPr lang="en-GB" dirty="0">
                <a:effectLst/>
              </a:rPr>
              <a:t>&gt;</a:t>
            </a:r>
            <a:br>
              <a:rPr lang="en-GB" dirty="0">
                <a:effectLst/>
              </a:rPr>
            </a:br>
            <a:r>
              <a:rPr lang="en-GB" dirty="0">
                <a:effectLst/>
              </a:rPr>
              <a:t>&lt;/dependency&gt;</a:t>
            </a:r>
          </a:p>
          <a:p>
            <a:pPr marL="0" indent="0">
              <a:buNone/>
            </a:pPr>
            <a:br>
              <a:rPr lang="en-GB" dirty="0">
                <a:effectLst/>
              </a:rPr>
            </a:br>
            <a:r>
              <a:rPr lang="en-GB" dirty="0">
                <a:effectLst/>
              </a:rPr>
              <a:t>&lt;dependency&gt;</a:t>
            </a:r>
            <a:br>
              <a:rPr lang="en-GB" dirty="0">
                <a:effectLst/>
              </a:rPr>
            </a:br>
            <a:r>
              <a:rPr lang="en-GB" dirty="0">
                <a:effectLst/>
              </a:rPr>
              <a:t>  &lt;</a:t>
            </a:r>
            <a:r>
              <a:rPr lang="en-GB" dirty="0" err="1">
                <a:effectLst/>
              </a:rPr>
              <a:t>groupId</a:t>
            </a:r>
            <a:r>
              <a:rPr lang="en-GB" dirty="0">
                <a:effectLst/>
              </a:rPr>
              <a:t>&gt;</a:t>
            </a:r>
            <a:r>
              <a:rPr lang="en-GB" dirty="0" err="1"/>
              <a:t>io.quarkus</a:t>
            </a:r>
            <a:r>
              <a:rPr lang="en-GB" dirty="0">
                <a:effectLst/>
              </a:rPr>
              <a:t>&lt;/</a:t>
            </a:r>
            <a:r>
              <a:rPr lang="en-GB" dirty="0" err="1">
                <a:effectLst/>
              </a:rPr>
              <a:t>groupId</a:t>
            </a:r>
            <a:r>
              <a:rPr lang="en-GB" dirty="0">
                <a:effectLst/>
              </a:rPr>
              <a:t>&gt;</a:t>
            </a:r>
            <a:br>
              <a:rPr lang="en-GB" dirty="0">
                <a:effectLst/>
              </a:rPr>
            </a:br>
            <a:r>
              <a:rPr lang="en-GB" dirty="0">
                <a:effectLst/>
              </a:rPr>
              <a:t>  &lt;</a:t>
            </a:r>
            <a:r>
              <a:rPr lang="en-GB" dirty="0" err="1">
                <a:effectLst/>
              </a:rPr>
              <a:t>artifactId</a:t>
            </a:r>
            <a:r>
              <a:rPr lang="en-GB" dirty="0">
                <a:effectLst/>
              </a:rPr>
              <a:t>&gt;</a:t>
            </a:r>
            <a:r>
              <a:rPr lang="en-GB" dirty="0" err="1"/>
              <a:t>quarkus</a:t>
            </a:r>
            <a:r>
              <a:rPr lang="en-GB" dirty="0"/>
              <a:t>-container-image-docker</a:t>
            </a:r>
            <a:r>
              <a:rPr lang="en-GB" dirty="0">
                <a:effectLst/>
              </a:rPr>
              <a:t>&lt;/</a:t>
            </a:r>
            <a:r>
              <a:rPr lang="en-GB" dirty="0" err="1">
                <a:effectLst/>
              </a:rPr>
              <a:t>artifactId</a:t>
            </a:r>
            <a:r>
              <a:rPr lang="en-GB" dirty="0">
                <a:effectLst/>
              </a:rPr>
              <a:t>&gt;</a:t>
            </a:r>
            <a:br>
              <a:rPr lang="en-GB" dirty="0">
                <a:effectLst/>
              </a:rPr>
            </a:br>
            <a:r>
              <a:rPr lang="en-GB" dirty="0">
                <a:effectLst/>
              </a:rPr>
              <a:t>&lt;/dependency&gt;</a:t>
            </a:r>
            <a:endParaRPr lang="en-US" dirty="0"/>
          </a:p>
          <a:p>
            <a:endParaRPr lang="en-US" dirty="0"/>
          </a:p>
          <a:p>
            <a:endParaRPr lang="en-US" dirty="0"/>
          </a:p>
          <a:p>
            <a:pPr lvl="1"/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573B6B2-5ADA-751E-8F78-360C6339B3D0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r>
              <a:rPr lang="en-US" dirty="0"/>
              <a:t>One-step Kubernetes deployment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8676498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EA797D-235D-15C6-3937-F0C5BC3E4A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Quarkus</a:t>
            </a:r>
            <a:r>
              <a:rPr lang="en-US" dirty="0"/>
              <a:t> on K8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42C0860-8B03-A3ED-AC36-BE20B478C4EF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2F25ACD-6A6D-F62D-41B7-4BCA521230AC}"/>
              </a:ext>
            </a:extLst>
          </p:cNvPr>
          <p:cNvSpPr>
            <a:spLocks noGrp="1"/>
          </p:cNvSpPr>
          <p:nvPr>
            <p:ph type="body" sz="half" idx="14"/>
          </p:nvPr>
        </p:nvSpPr>
        <p:spPr/>
        <p:txBody>
          <a:bodyPr/>
          <a:lstStyle/>
          <a:p>
            <a:r>
              <a:rPr lang="en-US" dirty="0" err="1"/>
              <a:t>Onur</a:t>
            </a:r>
            <a:r>
              <a:rPr lang="en-US" dirty="0"/>
              <a:t> </a:t>
            </a:r>
            <a:r>
              <a:rPr lang="en-US" dirty="0" err="1"/>
              <a:t>Kasimlar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B22D663-BD84-F7E8-BE05-2768380A18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05 June 2023</a:t>
            </a:r>
          </a:p>
        </p:txBody>
      </p:sp>
    </p:spTree>
    <p:extLst>
      <p:ext uri="{BB962C8B-B14F-4D97-AF65-F5344CB8AC3E}">
        <p14:creationId xmlns:p14="http://schemas.microsoft.com/office/powerpoint/2010/main" val="195756752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895A32-A20E-F943-746B-320EFEEA85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ntegration with Kubernetes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1319A92-354A-39AA-73FC-9D4B0F6FB5B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Generate deployment YAML for Kubernetes </a:t>
            </a:r>
            <a:r>
              <a:rPr lang="en-US" dirty="0" err="1"/>
              <a:t>Evn</a:t>
            </a:r>
            <a:r>
              <a:rPr lang="en-US" dirty="0"/>
              <a:t>.</a:t>
            </a:r>
          </a:p>
          <a:p>
            <a:pPr lvl="1"/>
            <a:r>
              <a:rPr lang="en-US" dirty="0"/>
              <a:t>Service Account, </a:t>
            </a:r>
            <a:r>
              <a:rPr lang="en-US" dirty="0" err="1"/>
              <a:t>RoleBinding</a:t>
            </a:r>
            <a:r>
              <a:rPr lang="en-US" dirty="0"/>
              <a:t>,…</a:t>
            </a:r>
          </a:p>
          <a:p>
            <a:pPr marL="0" indent="0">
              <a:buNone/>
            </a:pPr>
            <a:endParaRPr lang="en-US" dirty="0">
              <a:effectLst/>
            </a:endParaRPr>
          </a:p>
          <a:p>
            <a:pPr marL="0" indent="0">
              <a:buNone/>
            </a:pPr>
            <a:r>
              <a:rPr lang="en-GB" dirty="0">
                <a:effectLst/>
              </a:rPr>
              <a:t>&lt;dependency&gt;</a:t>
            </a:r>
            <a:br>
              <a:rPr lang="en-GB" dirty="0">
                <a:effectLst/>
              </a:rPr>
            </a:br>
            <a:r>
              <a:rPr lang="en-GB" dirty="0">
                <a:effectLst/>
              </a:rPr>
              <a:t>  &lt;</a:t>
            </a:r>
            <a:r>
              <a:rPr lang="en-GB" dirty="0" err="1">
                <a:effectLst/>
              </a:rPr>
              <a:t>groupId</a:t>
            </a:r>
            <a:r>
              <a:rPr lang="en-GB" dirty="0">
                <a:effectLst/>
              </a:rPr>
              <a:t>&gt;</a:t>
            </a:r>
            <a:r>
              <a:rPr lang="en-GB" dirty="0" err="1"/>
              <a:t>io.quarkus</a:t>
            </a:r>
            <a:r>
              <a:rPr lang="en-GB" dirty="0">
                <a:effectLst/>
              </a:rPr>
              <a:t>&lt;/</a:t>
            </a:r>
            <a:r>
              <a:rPr lang="en-GB" dirty="0" err="1">
                <a:effectLst/>
              </a:rPr>
              <a:t>groupId</a:t>
            </a:r>
            <a:r>
              <a:rPr lang="en-GB" dirty="0">
                <a:effectLst/>
              </a:rPr>
              <a:t>&gt;</a:t>
            </a:r>
            <a:br>
              <a:rPr lang="en-GB" dirty="0">
                <a:effectLst/>
              </a:rPr>
            </a:br>
            <a:r>
              <a:rPr lang="en-GB" dirty="0">
                <a:effectLst/>
              </a:rPr>
              <a:t>  &lt;</a:t>
            </a:r>
            <a:r>
              <a:rPr lang="en-GB" dirty="0" err="1">
                <a:effectLst/>
              </a:rPr>
              <a:t>artifactId</a:t>
            </a:r>
            <a:r>
              <a:rPr lang="en-GB" dirty="0">
                <a:effectLst/>
              </a:rPr>
              <a:t>&gt;</a:t>
            </a:r>
            <a:r>
              <a:rPr lang="en-GB" dirty="0" err="1"/>
              <a:t>quarkus-kubernetes-minikube</a:t>
            </a:r>
            <a:r>
              <a:rPr lang="en-GB" dirty="0">
                <a:effectLst/>
              </a:rPr>
              <a:t>&lt;/</a:t>
            </a:r>
            <a:r>
              <a:rPr lang="en-GB" dirty="0" err="1">
                <a:effectLst/>
              </a:rPr>
              <a:t>artifactId</a:t>
            </a:r>
            <a:r>
              <a:rPr lang="en-GB" dirty="0">
                <a:effectLst/>
              </a:rPr>
              <a:t>&gt;</a:t>
            </a:r>
            <a:br>
              <a:rPr lang="en-GB" dirty="0">
                <a:effectLst/>
              </a:rPr>
            </a:br>
            <a:r>
              <a:rPr lang="en-GB" dirty="0">
                <a:effectLst/>
              </a:rPr>
              <a:t>&lt;/dependency&gt;</a:t>
            </a: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>
              <a:effectLst/>
            </a:endParaRPr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573B6B2-5ADA-751E-8F78-360C6339B3D0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r>
              <a:rPr lang="en-US" dirty="0"/>
              <a:t>One-step Kubernetes deployment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4227114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895A32-A20E-F943-746B-320EFEEA85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ntegration with Kubernetes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1319A92-354A-39AA-73FC-9D4B0F6FB5B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Read properties from a </a:t>
            </a:r>
            <a:r>
              <a:rPr lang="en-US" dirty="0" err="1"/>
              <a:t>ConfigMap</a:t>
            </a:r>
            <a:r>
              <a:rPr lang="en-US" dirty="0"/>
              <a:t> / Secret</a:t>
            </a:r>
          </a:p>
          <a:p>
            <a:r>
              <a:rPr lang="en-US" dirty="0"/>
              <a:t>Override </a:t>
            </a:r>
            <a:r>
              <a:rPr lang="en-US" dirty="0" err="1"/>
              <a:t>application.properties</a:t>
            </a:r>
            <a:endParaRPr lang="en-US" dirty="0"/>
          </a:p>
          <a:p>
            <a:pPr marL="0" indent="0">
              <a:buNone/>
            </a:pPr>
            <a:endParaRPr lang="en-US" dirty="0">
              <a:effectLst/>
            </a:endParaRPr>
          </a:p>
          <a:p>
            <a:pPr marL="0" indent="0">
              <a:buNone/>
            </a:pPr>
            <a:r>
              <a:rPr lang="en-GB" dirty="0">
                <a:effectLst/>
              </a:rPr>
              <a:t>&lt;dependency&gt;</a:t>
            </a:r>
            <a:br>
              <a:rPr lang="en-GB" dirty="0">
                <a:effectLst/>
              </a:rPr>
            </a:br>
            <a:r>
              <a:rPr lang="en-GB" dirty="0">
                <a:effectLst/>
              </a:rPr>
              <a:t>  &lt;</a:t>
            </a:r>
            <a:r>
              <a:rPr lang="en-GB" dirty="0" err="1">
                <a:effectLst/>
              </a:rPr>
              <a:t>groupId</a:t>
            </a:r>
            <a:r>
              <a:rPr lang="en-GB" dirty="0">
                <a:effectLst/>
              </a:rPr>
              <a:t>&gt;</a:t>
            </a:r>
            <a:r>
              <a:rPr lang="en-GB" dirty="0" err="1"/>
              <a:t>io.quarkus</a:t>
            </a:r>
            <a:r>
              <a:rPr lang="en-GB" dirty="0">
                <a:effectLst/>
              </a:rPr>
              <a:t>&lt;/</a:t>
            </a:r>
            <a:r>
              <a:rPr lang="en-GB" dirty="0" err="1">
                <a:effectLst/>
              </a:rPr>
              <a:t>groupId</a:t>
            </a:r>
            <a:r>
              <a:rPr lang="en-GB" dirty="0">
                <a:effectLst/>
              </a:rPr>
              <a:t>&gt;</a:t>
            </a:r>
            <a:br>
              <a:rPr lang="en-GB" dirty="0">
                <a:effectLst/>
              </a:rPr>
            </a:br>
            <a:r>
              <a:rPr lang="en-GB" dirty="0">
                <a:effectLst/>
              </a:rPr>
              <a:t>  &lt;</a:t>
            </a:r>
            <a:r>
              <a:rPr lang="en-GB" dirty="0" err="1">
                <a:effectLst/>
              </a:rPr>
              <a:t>artifactId</a:t>
            </a:r>
            <a:r>
              <a:rPr lang="en-GB" dirty="0">
                <a:effectLst/>
              </a:rPr>
              <a:t>&gt;</a:t>
            </a:r>
            <a:r>
              <a:rPr lang="en-GB" dirty="0" err="1"/>
              <a:t>quarkus</a:t>
            </a:r>
            <a:r>
              <a:rPr lang="en-GB" dirty="0"/>
              <a:t>-</a:t>
            </a:r>
            <a:r>
              <a:rPr lang="en-GB" dirty="0" err="1"/>
              <a:t>kubernetes</a:t>
            </a:r>
            <a:r>
              <a:rPr lang="en-GB" dirty="0"/>
              <a:t>-config</a:t>
            </a:r>
            <a:r>
              <a:rPr lang="en-GB" dirty="0">
                <a:effectLst/>
              </a:rPr>
              <a:t>&lt;/</a:t>
            </a:r>
            <a:r>
              <a:rPr lang="en-GB" dirty="0" err="1">
                <a:effectLst/>
              </a:rPr>
              <a:t>artifactId</a:t>
            </a:r>
            <a:r>
              <a:rPr lang="en-GB" dirty="0">
                <a:effectLst/>
              </a:rPr>
              <a:t>&gt;</a:t>
            </a:r>
            <a:br>
              <a:rPr lang="en-GB" dirty="0">
                <a:effectLst/>
              </a:rPr>
            </a:br>
            <a:r>
              <a:rPr lang="en-GB" dirty="0">
                <a:effectLst/>
              </a:rPr>
              <a:t>&lt;/dependency&gt;</a:t>
            </a: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>
              <a:effectLst/>
            </a:endParaRPr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573B6B2-5ADA-751E-8F78-360C6339B3D0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r>
              <a:rPr lang="en-US" dirty="0"/>
              <a:t>Direct Secret and </a:t>
            </a:r>
            <a:r>
              <a:rPr lang="en-US" dirty="0" err="1"/>
              <a:t>ConfigMap</a:t>
            </a:r>
            <a:r>
              <a:rPr lang="en-US" dirty="0"/>
              <a:t> access</a:t>
            </a:r>
          </a:p>
        </p:txBody>
      </p:sp>
    </p:spTree>
    <p:extLst>
      <p:ext uri="{BB962C8B-B14F-4D97-AF65-F5344CB8AC3E}">
        <p14:creationId xmlns:p14="http://schemas.microsoft.com/office/powerpoint/2010/main" val="251670879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895A32-A20E-F943-746B-320EFEEA85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ntegration with Kubernetes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1319A92-354A-39AA-73FC-9D4B0F6FB5B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US" dirty="0"/>
              <a:t>Expose application availability and status</a:t>
            </a:r>
          </a:p>
          <a:p>
            <a:r>
              <a:rPr lang="en-US" dirty="0"/>
              <a:t>Custom application health checks</a:t>
            </a:r>
          </a:p>
          <a:p>
            <a:r>
              <a:rPr lang="en-US" dirty="0"/>
              <a:t>Built-in health checks</a:t>
            </a:r>
          </a:p>
          <a:p>
            <a:pPr lvl="1"/>
            <a:r>
              <a:rPr lang="en-US" dirty="0"/>
              <a:t>Kafka, JDBC </a:t>
            </a:r>
            <a:r>
              <a:rPr lang="en-US" dirty="0" err="1"/>
              <a:t>Datasources</a:t>
            </a:r>
            <a:r>
              <a:rPr lang="en-US" dirty="0"/>
              <a:t>, Elasticsearch, …</a:t>
            </a:r>
          </a:p>
          <a:p>
            <a:pPr marL="0" indent="0">
              <a:buNone/>
            </a:pPr>
            <a:endParaRPr lang="en-US" dirty="0">
              <a:effectLst/>
            </a:endParaRPr>
          </a:p>
          <a:p>
            <a:pPr marL="0" indent="0">
              <a:buNone/>
            </a:pPr>
            <a:r>
              <a:rPr lang="en-GB" dirty="0">
                <a:effectLst/>
              </a:rPr>
              <a:t>&lt;dependency&gt;</a:t>
            </a:r>
            <a:br>
              <a:rPr lang="en-GB" dirty="0">
                <a:effectLst/>
              </a:rPr>
            </a:br>
            <a:r>
              <a:rPr lang="en-GB" dirty="0">
                <a:effectLst/>
              </a:rPr>
              <a:t>  &lt;</a:t>
            </a:r>
            <a:r>
              <a:rPr lang="en-GB" dirty="0" err="1">
                <a:effectLst/>
              </a:rPr>
              <a:t>groupId</a:t>
            </a:r>
            <a:r>
              <a:rPr lang="en-GB" dirty="0">
                <a:effectLst/>
              </a:rPr>
              <a:t>&gt;</a:t>
            </a:r>
            <a:r>
              <a:rPr lang="en-GB" dirty="0" err="1"/>
              <a:t>io.quarkus</a:t>
            </a:r>
            <a:r>
              <a:rPr lang="en-GB" dirty="0">
                <a:effectLst/>
              </a:rPr>
              <a:t>&lt;/</a:t>
            </a:r>
            <a:r>
              <a:rPr lang="en-GB" dirty="0" err="1">
                <a:effectLst/>
              </a:rPr>
              <a:t>groupId</a:t>
            </a:r>
            <a:r>
              <a:rPr lang="en-GB" dirty="0">
                <a:effectLst/>
              </a:rPr>
              <a:t>&gt;</a:t>
            </a:r>
            <a:br>
              <a:rPr lang="en-GB" dirty="0">
                <a:effectLst/>
              </a:rPr>
            </a:br>
            <a:r>
              <a:rPr lang="en-GB" dirty="0">
                <a:effectLst/>
              </a:rPr>
              <a:t>  &lt;</a:t>
            </a:r>
            <a:r>
              <a:rPr lang="en-GB" dirty="0" err="1">
                <a:effectLst/>
              </a:rPr>
              <a:t>artifactId</a:t>
            </a:r>
            <a:r>
              <a:rPr lang="en-GB" dirty="0">
                <a:effectLst/>
              </a:rPr>
              <a:t>&gt;</a:t>
            </a:r>
            <a:r>
              <a:rPr lang="en-GB" dirty="0" err="1"/>
              <a:t>quarkus</a:t>
            </a:r>
            <a:r>
              <a:rPr lang="en-GB" dirty="0"/>
              <a:t>-</a:t>
            </a:r>
            <a:r>
              <a:rPr lang="en-GB" dirty="0" err="1"/>
              <a:t>smallrye</a:t>
            </a:r>
            <a:r>
              <a:rPr lang="en-GB" dirty="0"/>
              <a:t>-health</a:t>
            </a:r>
            <a:r>
              <a:rPr lang="en-GB" dirty="0">
                <a:effectLst/>
              </a:rPr>
              <a:t>&lt;/</a:t>
            </a:r>
            <a:r>
              <a:rPr lang="en-GB" dirty="0" err="1">
                <a:effectLst/>
              </a:rPr>
              <a:t>artifactId</a:t>
            </a:r>
            <a:r>
              <a:rPr lang="en-GB" dirty="0">
                <a:effectLst/>
              </a:rPr>
              <a:t>&gt;</a:t>
            </a:r>
            <a:br>
              <a:rPr lang="en-GB" dirty="0">
                <a:effectLst/>
              </a:rPr>
            </a:br>
            <a:r>
              <a:rPr lang="en-GB" dirty="0">
                <a:effectLst/>
              </a:rPr>
              <a:t>&lt;/dependency&gt;</a:t>
            </a: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>
              <a:effectLst/>
            </a:endParaRPr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573B6B2-5ADA-751E-8F78-360C6339B3D0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r>
              <a:rPr lang="en-US" dirty="0"/>
              <a:t>Health Endpoints</a:t>
            </a:r>
          </a:p>
        </p:txBody>
      </p:sp>
    </p:spTree>
    <p:extLst>
      <p:ext uri="{BB962C8B-B14F-4D97-AF65-F5344CB8AC3E}">
        <p14:creationId xmlns:p14="http://schemas.microsoft.com/office/powerpoint/2010/main" val="125240752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895A32-A20E-F943-746B-320EFEEA85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ntegration with Kubernetes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1319A92-354A-39AA-73FC-9D4B0F6FB5B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Distributed Tracing across microservices</a:t>
            </a: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>
              <a:effectLst/>
            </a:endParaRPr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573B6B2-5ADA-751E-8F78-360C6339B3D0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r>
              <a:rPr lang="en-US" dirty="0" err="1"/>
              <a:t>OpenTracing</a:t>
            </a:r>
            <a:r>
              <a:rPr lang="en-US" dirty="0"/>
              <a:t> Support</a:t>
            </a:r>
          </a:p>
        </p:txBody>
      </p:sp>
    </p:spTree>
    <p:extLst>
      <p:ext uri="{BB962C8B-B14F-4D97-AF65-F5344CB8AC3E}">
        <p14:creationId xmlns:p14="http://schemas.microsoft.com/office/powerpoint/2010/main" val="256660966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895A32-A20E-F943-746B-320EFEEA85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allenge Distributed Tracing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169DC2DB-EBC0-54EC-BACE-32D9E356E68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1893034" y="2104448"/>
            <a:ext cx="7120535" cy="3713848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573B6B2-5ADA-751E-8F78-360C6339B3D0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r>
              <a:rPr lang="en-US" dirty="0"/>
              <a:t>Example Architecture </a:t>
            </a:r>
          </a:p>
        </p:txBody>
      </p:sp>
    </p:spTree>
    <p:extLst>
      <p:ext uri="{BB962C8B-B14F-4D97-AF65-F5344CB8AC3E}">
        <p14:creationId xmlns:p14="http://schemas.microsoft.com/office/powerpoint/2010/main" val="291073524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895A32-A20E-F943-746B-320EFEEA85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allenge Distributed Tracing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573B6B2-5ADA-751E-8F78-360C6339B3D0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r>
              <a:rPr lang="en-US" dirty="0"/>
              <a:t>Example Architecture </a:t>
            </a:r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74A6276D-2616-863A-A4DC-BECDE1CB0DE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271587" y="2187575"/>
            <a:ext cx="7648826" cy="39893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693653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895A32-A20E-F943-746B-320EFEEA85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lution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573B6B2-5ADA-751E-8F78-360C6339B3D0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r>
              <a:rPr lang="en-US" dirty="0"/>
              <a:t>Architecture</a:t>
            </a:r>
          </a:p>
        </p:txBody>
      </p:sp>
      <p:pic>
        <p:nvPicPr>
          <p:cNvPr id="1030" name="Picture 6" descr="Architecture">
            <a:extLst>
              <a:ext uri="{FF2B5EF4-FFF2-40B4-BE49-F238E27FC236}">
                <a16:creationId xmlns:a16="http://schemas.microsoft.com/office/drawing/2014/main" id="{B5847C1A-4262-DA09-BAA5-54F1350B0DD6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61251" y="2187575"/>
            <a:ext cx="8469497" cy="3989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9792423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895A32-A20E-F943-746B-320EFEEA85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ummary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1319A92-354A-39AA-73FC-9D4B0F6FB5B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Built for developing cloud-native applications</a:t>
            </a:r>
          </a:p>
          <a:p>
            <a:r>
              <a:rPr lang="en-US" dirty="0"/>
              <a:t>Improves development performance</a:t>
            </a:r>
          </a:p>
          <a:p>
            <a:r>
              <a:rPr lang="en-US" dirty="0"/>
              <a:t>Improves memory usage and speed</a:t>
            </a:r>
          </a:p>
          <a:p>
            <a:endParaRPr lang="en-US" dirty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>
              <a:effectLst/>
            </a:endParaRPr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573B6B2-5ADA-751E-8F78-360C6339B3D0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r>
              <a:rPr lang="en-US" dirty="0" err="1"/>
              <a:t>Quarkus</a:t>
            </a:r>
            <a:r>
              <a:rPr lang="en-US" dirty="0"/>
              <a:t> @ K8S</a:t>
            </a:r>
          </a:p>
        </p:txBody>
      </p:sp>
    </p:spTree>
    <p:extLst>
      <p:ext uri="{BB962C8B-B14F-4D97-AF65-F5344CB8AC3E}">
        <p14:creationId xmlns:p14="http://schemas.microsoft.com/office/powerpoint/2010/main" val="46844283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F0B1F6-C1F9-2601-6BB0-22B0E615CE99}"/>
              </a:ext>
            </a:extLst>
          </p:cNvPr>
          <p:cNvSpPr txBox="1">
            <a:spLocks/>
          </p:cNvSpPr>
          <p:nvPr/>
        </p:nvSpPr>
        <p:spPr>
          <a:xfrm>
            <a:off x="7237479" y="2014780"/>
            <a:ext cx="4060551" cy="407605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1800">
                <a:solidFill>
                  <a:schemeClr val="tx2"/>
                </a:solidFill>
              </a:rPr>
              <a:t>POSEDIO GMBH</a:t>
            </a:r>
            <a:endParaRPr lang="en-US" sz="1800">
              <a:solidFill>
                <a:schemeClr val="bg1"/>
              </a:solidFill>
              <a:latin typeface="+mn-lt"/>
            </a:endParaRPr>
          </a:p>
          <a:p>
            <a:pPr>
              <a:lnSpc>
                <a:spcPct val="100000"/>
              </a:lnSpc>
            </a:pPr>
            <a:endParaRPr lang="en-US" sz="1800">
              <a:solidFill>
                <a:schemeClr val="bg1"/>
              </a:solidFill>
              <a:latin typeface="+mn-lt"/>
            </a:endParaRPr>
          </a:p>
          <a:p>
            <a:pPr>
              <a:lnSpc>
                <a:spcPct val="100000"/>
              </a:lnSpc>
            </a:pPr>
            <a:r>
              <a:rPr lang="en-US" sz="1600">
                <a:solidFill>
                  <a:schemeClr val="bg1"/>
                </a:solidFill>
                <a:latin typeface="+mn-lt"/>
              </a:rPr>
              <a:t>+43 660 9154419</a:t>
            </a:r>
          </a:p>
          <a:p>
            <a:pPr>
              <a:lnSpc>
                <a:spcPct val="100000"/>
              </a:lnSpc>
            </a:pPr>
            <a:endParaRPr lang="en-US" sz="1600">
              <a:solidFill>
                <a:schemeClr val="bg1"/>
              </a:solidFill>
              <a:latin typeface="+mn-lt"/>
            </a:endParaRPr>
          </a:p>
          <a:p>
            <a:pPr>
              <a:lnSpc>
                <a:spcPct val="100000"/>
              </a:lnSpc>
            </a:pPr>
            <a:r>
              <a:rPr lang="en-US" sz="1600" err="1">
                <a:solidFill>
                  <a:schemeClr val="bg1"/>
                </a:solidFill>
                <a:latin typeface="+mn-lt"/>
              </a:rPr>
              <a:t>contact@posedio.com</a:t>
            </a:r>
            <a:endParaRPr lang="en-US" sz="1600">
              <a:solidFill>
                <a:schemeClr val="bg1"/>
              </a:solidFill>
              <a:latin typeface="+mn-lt"/>
            </a:endParaRPr>
          </a:p>
          <a:p>
            <a:pPr>
              <a:lnSpc>
                <a:spcPct val="100000"/>
              </a:lnSpc>
            </a:pPr>
            <a:endParaRPr lang="en-US" sz="1600">
              <a:solidFill>
                <a:schemeClr val="bg1"/>
              </a:solidFill>
              <a:latin typeface="+mn-lt"/>
            </a:endParaRPr>
          </a:p>
          <a:p>
            <a:pPr>
              <a:lnSpc>
                <a:spcPct val="150000"/>
              </a:lnSpc>
            </a:pPr>
            <a:r>
              <a:rPr lang="en-US" sz="1600" err="1">
                <a:solidFill>
                  <a:schemeClr val="bg1"/>
                </a:solidFill>
                <a:latin typeface="+mn-lt"/>
              </a:rPr>
              <a:t>Weyringergasse</a:t>
            </a:r>
            <a:r>
              <a:rPr lang="en-US" sz="1600">
                <a:solidFill>
                  <a:schemeClr val="bg1"/>
                </a:solidFill>
                <a:latin typeface="+mn-lt"/>
              </a:rPr>
              <a:t> 1-3, 1040 </a:t>
            </a:r>
            <a:r>
              <a:rPr lang="en-US" sz="1600" b="0" i="0">
                <a:solidFill>
                  <a:schemeClr val="bg1"/>
                </a:solidFill>
                <a:latin typeface="+mj-lt"/>
              </a:rPr>
              <a:t>Wien</a:t>
            </a:r>
            <a:r>
              <a:rPr lang="en-US" sz="1600">
                <a:solidFill>
                  <a:schemeClr val="bg1"/>
                </a:solidFill>
                <a:latin typeface="+mn-lt"/>
              </a:rPr>
              <a:t>, </a:t>
            </a:r>
            <a:br>
              <a:rPr lang="en-US" sz="1600">
                <a:solidFill>
                  <a:schemeClr val="bg1"/>
                </a:solidFill>
                <a:latin typeface="+mn-lt"/>
              </a:rPr>
            </a:br>
            <a:r>
              <a:rPr lang="en-US" sz="1600" err="1">
                <a:solidFill>
                  <a:schemeClr val="bg1"/>
                </a:solidFill>
                <a:latin typeface="+mn-lt"/>
              </a:rPr>
              <a:t>Millenium</a:t>
            </a:r>
            <a:r>
              <a:rPr lang="en-US" sz="1600">
                <a:solidFill>
                  <a:schemeClr val="bg1"/>
                </a:solidFill>
                <a:latin typeface="+mn-lt"/>
              </a:rPr>
              <a:t> Park 4, 6980 </a:t>
            </a:r>
            <a:r>
              <a:rPr lang="en-US" sz="1600" b="0" err="1">
                <a:solidFill>
                  <a:schemeClr val="bg1"/>
                </a:solidFill>
                <a:latin typeface="+mj-lt"/>
              </a:rPr>
              <a:t>Lustenau</a:t>
            </a:r>
            <a:endParaRPr lang="en-US" sz="1600" b="0">
              <a:solidFill>
                <a:schemeClr val="bg1"/>
              </a:solidFill>
              <a:latin typeface="+mj-lt"/>
            </a:endParaRPr>
          </a:p>
          <a:p>
            <a:pPr>
              <a:lnSpc>
                <a:spcPct val="100000"/>
              </a:lnSpc>
            </a:pPr>
            <a:endParaRPr lang="en-US" sz="1600">
              <a:solidFill>
                <a:schemeClr val="bg1"/>
              </a:solidFill>
              <a:latin typeface="+mn-lt"/>
            </a:endParaRPr>
          </a:p>
          <a:p>
            <a:pPr>
              <a:lnSpc>
                <a:spcPct val="100000"/>
              </a:lnSpc>
            </a:pPr>
            <a:r>
              <a:rPr lang="en-US" sz="1600" err="1">
                <a:solidFill>
                  <a:schemeClr val="bg1"/>
                </a:solidFill>
                <a:latin typeface="+mn-lt"/>
              </a:rPr>
              <a:t>www.posedio.com</a:t>
            </a:r>
            <a:endParaRPr lang="en-US" sz="160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12956511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895A32-A20E-F943-746B-320EFEEA85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B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1319A92-354A-39AA-73FC-9D4B0F6FB5B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573B6B2-5ADA-751E-8F78-360C6339B3D0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F7805F4-51DD-8B81-2743-E8CDBC50E2C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51500" y="2940300"/>
            <a:ext cx="8876045" cy="12423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03714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513630-8659-BF41-9C99-113C8D785D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POSEDIO </a:t>
            </a:r>
            <a:r>
              <a:rPr lang="de-DE" err="1"/>
              <a:t>GMbH</a:t>
            </a:r>
            <a:endParaRPr lang="en-US"/>
          </a:p>
        </p:txBody>
      </p:sp>
      <p:pic>
        <p:nvPicPr>
          <p:cNvPr id="50" name="Picture 49" descr="Shape&#10;&#10;Description automatically generated">
            <a:extLst>
              <a:ext uri="{FF2B5EF4-FFF2-40B4-BE49-F238E27FC236}">
                <a16:creationId xmlns:a16="http://schemas.microsoft.com/office/drawing/2014/main" id="{64D1AEE6-6B00-7C7D-EB4B-67FC7D958472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l="1582"/>
          <a:stretch/>
        </p:blipFill>
        <p:spPr>
          <a:xfrm>
            <a:off x="0" y="3231554"/>
            <a:ext cx="12192001" cy="1476005"/>
          </a:xfrm>
          <a:prstGeom prst="rect">
            <a:avLst/>
          </a:prstGeom>
        </p:spPr>
      </p:pic>
      <p:sp>
        <p:nvSpPr>
          <p:cNvPr id="48" name="Textfeld 14">
            <a:extLst>
              <a:ext uri="{FF2B5EF4-FFF2-40B4-BE49-F238E27FC236}">
                <a16:creationId xmlns:a16="http://schemas.microsoft.com/office/drawing/2014/main" id="{9A31278C-D78C-AEE8-327E-8A514386B1D2}"/>
              </a:ext>
            </a:extLst>
          </p:cNvPr>
          <p:cNvSpPr txBox="1"/>
          <p:nvPr/>
        </p:nvSpPr>
        <p:spPr>
          <a:xfrm>
            <a:off x="7259807" y="1643611"/>
            <a:ext cx="3660512" cy="31393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de-DE" b="1">
                <a:solidFill>
                  <a:schemeClr val="bg1"/>
                </a:solidFill>
              </a:rPr>
              <a:t>Company </a:t>
            </a:r>
            <a:r>
              <a:rPr lang="de-DE" b="1" err="1">
                <a:solidFill>
                  <a:schemeClr val="bg1"/>
                </a:solidFill>
              </a:rPr>
              <a:t>founded</a:t>
            </a:r>
            <a:r>
              <a:rPr lang="de-DE" b="1">
                <a:solidFill>
                  <a:schemeClr val="bg1"/>
                </a:solidFill>
              </a:rPr>
              <a:t>:</a:t>
            </a:r>
            <a:endParaRPr lang="en-US">
              <a:solidFill>
                <a:schemeClr val="bg1"/>
              </a:solidFill>
            </a:endParaRPr>
          </a:p>
          <a:p>
            <a:pPr marL="285750" indent="-285750">
              <a:buFont typeface="Arial"/>
              <a:buChar char="•"/>
            </a:pPr>
            <a:r>
              <a:rPr lang="de-DE">
                <a:solidFill>
                  <a:schemeClr val="bg1"/>
                </a:solidFill>
              </a:rPr>
              <a:t>2020</a:t>
            </a:r>
            <a:endParaRPr lang="en-US">
              <a:solidFill>
                <a:schemeClr val="bg1"/>
              </a:solidFill>
            </a:endParaRPr>
          </a:p>
          <a:p>
            <a:pPr marL="285750" indent="-285750">
              <a:buFont typeface="Arial"/>
              <a:buChar char="•"/>
            </a:pPr>
            <a:endParaRPr lang="de-DE">
              <a:solidFill>
                <a:schemeClr val="bg1"/>
              </a:solidFill>
            </a:endParaRPr>
          </a:p>
          <a:p>
            <a:r>
              <a:rPr lang="de-DE" b="1">
                <a:solidFill>
                  <a:schemeClr val="bg1"/>
                </a:solidFill>
              </a:rPr>
              <a:t>Locations:</a:t>
            </a:r>
            <a:endParaRPr lang="de-DE">
              <a:solidFill>
                <a:schemeClr val="bg1"/>
              </a:solidFill>
            </a:endParaRPr>
          </a:p>
          <a:p>
            <a:pPr marL="285750" indent="-285750">
              <a:buFont typeface="Arial"/>
              <a:buChar char="•"/>
            </a:pPr>
            <a:r>
              <a:rPr lang="de-DE">
                <a:solidFill>
                  <a:schemeClr val="bg1"/>
                </a:solidFill>
              </a:rPr>
              <a:t>Vienna </a:t>
            </a:r>
            <a:endParaRPr lang="en-US">
              <a:solidFill>
                <a:schemeClr val="bg1"/>
              </a:solidFill>
            </a:endParaRPr>
          </a:p>
          <a:p>
            <a:pPr marL="285750" indent="-285750">
              <a:buFont typeface="Arial"/>
              <a:buChar char="•"/>
            </a:pPr>
            <a:r>
              <a:rPr lang="de-DE">
                <a:solidFill>
                  <a:schemeClr val="bg1"/>
                </a:solidFill>
              </a:rPr>
              <a:t>Vorarlberg</a:t>
            </a:r>
            <a:endParaRPr lang="en-US">
              <a:solidFill>
                <a:schemeClr val="bg1"/>
              </a:solidFill>
            </a:endParaRPr>
          </a:p>
          <a:p>
            <a:pPr marL="285750" indent="-285750">
              <a:buFont typeface="Arial"/>
              <a:buChar char="•"/>
            </a:pPr>
            <a:endParaRPr lang="de-DE">
              <a:solidFill>
                <a:schemeClr val="bg1"/>
              </a:solidFill>
            </a:endParaRPr>
          </a:p>
          <a:p>
            <a:r>
              <a:rPr lang="de-DE" b="1">
                <a:solidFill>
                  <a:schemeClr val="bg1"/>
                </a:solidFill>
              </a:rPr>
              <a:t>Co-</a:t>
            </a:r>
            <a:r>
              <a:rPr lang="de-DE" b="1" err="1">
                <a:solidFill>
                  <a:schemeClr val="bg1"/>
                </a:solidFill>
              </a:rPr>
              <a:t>workers</a:t>
            </a:r>
            <a:r>
              <a:rPr lang="de-DE" b="1">
                <a:solidFill>
                  <a:schemeClr val="bg1"/>
                </a:solidFill>
              </a:rPr>
              <a:t>: </a:t>
            </a:r>
            <a:endParaRPr lang="en-US">
              <a:solidFill>
                <a:schemeClr val="bg1"/>
              </a:solidFill>
            </a:endParaRPr>
          </a:p>
          <a:p>
            <a:pPr marL="285750" indent="-285750">
              <a:buFont typeface="Arial"/>
              <a:buChar char="•"/>
            </a:pPr>
            <a:r>
              <a:rPr lang="de-DE">
                <a:solidFill>
                  <a:schemeClr val="bg1"/>
                </a:solidFill>
              </a:rPr>
              <a:t>17 Cloud </a:t>
            </a:r>
            <a:r>
              <a:rPr lang="de-DE" err="1">
                <a:solidFill>
                  <a:schemeClr val="bg1"/>
                </a:solidFill>
              </a:rPr>
              <a:t>experts</a:t>
            </a:r>
          </a:p>
          <a:p>
            <a:endParaRPr lang="de-DE" b="1">
              <a:solidFill>
                <a:schemeClr val="bg1"/>
              </a:solidFill>
            </a:endParaRPr>
          </a:p>
          <a:p>
            <a:pPr marL="742950" lvl="1" indent="-285750">
              <a:buFontTx/>
              <a:buChar char="-"/>
            </a:pPr>
            <a:endParaRPr lang="de-DE">
              <a:solidFill>
                <a:schemeClr val="bg1"/>
              </a:solidFill>
            </a:endParaRPr>
          </a:p>
        </p:txBody>
      </p:sp>
      <p:grpSp>
        <p:nvGrpSpPr>
          <p:cNvPr id="24" name="Group 9">
            <a:extLst>
              <a:ext uri="{FF2B5EF4-FFF2-40B4-BE49-F238E27FC236}">
                <a16:creationId xmlns:a16="http://schemas.microsoft.com/office/drawing/2014/main" id="{35EE2E3F-78AE-7E99-9893-9C1957B63C6E}"/>
              </a:ext>
            </a:extLst>
          </p:cNvPr>
          <p:cNvGrpSpPr>
            <a:grpSpLocks noChangeAspect="1"/>
          </p:cNvGrpSpPr>
          <p:nvPr/>
        </p:nvGrpSpPr>
        <p:grpSpPr>
          <a:xfrm>
            <a:off x="1353345" y="1715417"/>
            <a:ext cx="4890853" cy="2510119"/>
            <a:chOff x="395288" y="1789431"/>
            <a:chExt cx="8353426" cy="4287201"/>
          </a:xfrm>
        </p:grpSpPr>
        <p:sp>
          <p:nvSpPr>
            <p:cNvPr id="25" name="Freeform 2">
              <a:extLst>
                <a:ext uri="{FF2B5EF4-FFF2-40B4-BE49-F238E27FC236}">
                  <a16:creationId xmlns:a16="http://schemas.microsoft.com/office/drawing/2014/main" id="{BB8A90E1-55F8-1723-54D3-8718884439FF}"/>
                </a:ext>
              </a:extLst>
            </p:cNvPr>
            <p:cNvSpPr>
              <a:spLocks noChangeAspect="1"/>
            </p:cNvSpPr>
            <p:nvPr>
              <p:custDataLst>
                <p:tags r:id="rId1"/>
              </p:custDataLst>
            </p:nvPr>
          </p:nvSpPr>
          <p:spPr>
            <a:xfrm>
              <a:off x="395288" y="4030651"/>
              <a:ext cx="765616" cy="1221603"/>
            </a:xfrm>
            <a:custGeom>
              <a:avLst/>
              <a:gdLst/>
              <a:ahLst/>
              <a:cxnLst/>
              <a:rect l="0" t="0" r="0" b="0"/>
              <a:pathLst>
                <a:path w="765616" h="1221603">
                  <a:moveTo>
                    <a:pt x="364111" y="89968"/>
                  </a:moveTo>
                  <a:lnTo>
                    <a:pt x="372981" y="89692"/>
                  </a:lnTo>
                  <a:lnTo>
                    <a:pt x="386858" y="81572"/>
                  </a:lnTo>
                  <a:lnTo>
                    <a:pt x="392478" y="80309"/>
                  </a:lnTo>
                  <a:lnTo>
                    <a:pt x="424909" y="94043"/>
                  </a:lnTo>
                  <a:lnTo>
                    <a:pt x="457435" y="98092"/>
                  </a:lnTo>
                  <a:lnTo>
                    <a:pt x="474125" y="95541"/>
                  </a:lnTo>
                  <a:lnTo>
                    <a:pt x="487852" y="85461"/>
                  </a:lnTo>
                  <a:lnTo>
                    <a:pt x="489739" y="112465"/>
                  </a:lnTo>
                  <a:lnTo>
                    <a:pt x="500527" y="128163"/>
                  </a:lnTo>
                  <a:lnTo>
                    <a:pt x="513649" y="142527"/>
                  </a:lnTo>
                  <a:lnTo>
                    <a:pt x="522683" y="164834"/>
                  </a:lnTo>
                  <a:lnTo>
                    <a:pt x="522471" y="169750"/>
                  </a:lnTo>
                  <a:lnTo>
                    <a:pt x="522597" y="174717"/>
                  </a:lnTo>
                  <a:lnTo>
                    <a:pt x="523888" y="184280"/>
                  </a:lnTo>
                  <a:lnTo>
                    <a:pt x="535604" y="192021"/>
                  </a:lnTo>
                  <a:lnTo>
                    <a:pt x="545429" y="188234"/>
                  </a:lnTo>
                  <a:lnTo>
                    <a:pt x="555553" y="180093"/>
                  </a:lnTo>
                  <a:lnTo>
                    <a:pt x="568276" y="174912"/>
                  </a:lnTo>
                  <a:lnTo>
                    <a:pt x="618941" y="256560"/>
                  </a:lnTo>
                  <a:lnTo>
                    <a:pt x="627794" y="276028"/>
                  </a:lnTo>
                  <a:lnTo>
                    <a:pt x="621966" y="292903"/>
                  </a:lnTo>
                  <a:lnTo>
                    <a:pt x="596149" y="311374"/>
                  </a:lnTo>
                  <a:lnTo>
                    <a:pt x="607600" y="325985"/>
                  </a:lnTo>
                  <a:lnTo>
                    <a:pt x="609846" y="342989"/>
                  </a:lnTo>
                  <a:lnTo>
                    <a:pt x="610134" y="360500"/>
                  </a:lnTo>
                  <a:lnTo>
                    <a:pt x="615394" y="376283"/>
                  </a:lnTo>
                  <a:lnTo>
                    <a:pt x="625648" y="387146"/>
                  </a:lnTo>
                  <a:lnTo>
                    <a:pt x="633054" y="387121"/>
                  </a:lnTo>
                  <a:lnTo>
                    <a:pt x="641729" y="381212"/>
                  </a:lnTo>
                  <a:lnTo>
                    <a:pt x="656460" y="374890"/>
                  </a:lnTo>
                  <a:lnTo>
                    <a:pt x="661888" y="375830"/>
                  </a:lnTo>
                  <a:lnTo>
                    <a:pt x="672973" y="383232"/>
                  </a:lnTo>
                  <a:lnTo>
                    <a:pt x="678658" y="383504"/>
                  </a:lnTo>
                  <a:lnTo>
                    <a:pt x="683468" y="380089"/>
                  </a:lnTo>
                  <a:lnTo>
                    <a:pt x="697140" y="366141"/>
                  </a:lnTo>
                  <a:lnTo>
                    <a:pt x="745819" y="359300"/>
                  </a:lnTo>
                  <a:lnTo>
                    <a:pt x="765615" y="371072"/>
                  </a:lnTo>
                  <a:lnTo>
                    <a:pt x="763642" y="400312"/>
                  </a:lnTo>
                  <a:lnTo>
                    <a:pt x="741306" y="459632"/>
                  </a:lnTo>
                  <a:lnTo>
                    <a:pt x="743379" y="470395"/>
                  </a:lnTo>
                  <a:lnTo>
                    <a:pt x="743555" y="480163"/>
                  </a:lnTo>
                  <a:lnTo>
                    <a:pt x="740385" y="490882"/>
                  </a:lnTo>
                  <a:lnTo>
                    <a:pt x="734820" y="495959"/>
                  </a:lnTo>
                  <a:lnTo>
                    <a:pt x="720067" y="499730"/>
                  </a:lnTo>
                  <a:lnTo>
                    <a:pt x="715500" y="502617"/>
                  </a:lnTo>
                  <a:lnTo>
                    <a:pt x="704616" y="520551"/>
                  </a:lnTo>
                  <a:lnTo>
                    <a:pt x="699760" y="530530"/>
                  </a:lnTo>
                  <a:lnTo>
                    <a:pt x="704542" y="533582"/>
                  </a:lnTo>
                  <a:lnTo>
                    <a:pt x="721241" y="532221"/>
                  </a:lnTo>
                  <a:lnTo>
                    <a:pt x="737542" y="579676"/>
                  </a:lnTo>
                  <a:lnTo>
                    <a:pt x="747772" y="653184"/>
                  </a:lnTo>
                  <a:lnTo>
                    <a:pt x="747982" y="669262"/>
                  </a:lnTo>
                  <a:lnTo>
                    <a:pt x="743938" y="714431"/>
                  </a:lnTo>
                  <a:lnTo>
                    <a:pt x="725869" y="754121"/>
                  </a:lnTo>
                  <a:lnTo>
                    <a:pt x="680316" y="817614"/>
                  </a:lnTo>
                  <a:lnTo>
                    <a:pt x="667757" y="847505"/>
                  </a:lnTo>
                  <a:lnTo>
                    <a:pt x="652228" y="911807"/>
                  </a:lnTo>
                  <a:lnTo>
                    <a:pt x="649123" y="937162"/>
                  </a:lnTo>
                  <a:lnTo>
                    <a:pt x="649514" y="956905"/>
                  </a:lnTo>
                  <a:lnTo>
                    <a:pt x="652020" y="979680"/>
                  </a:lnTo>
                  <a:lnTo>
                    <a:pt x="651818" y="997163"/>
                  </a:lnTo>
                  <a:lnTo>
                    <a:pt x="647735" y="1025346"/>
                  </a:lnTo>
                  <a:lnTo>
                    <a:pt x="639860" y="1045207"/>
                  </a:lnTo>
                  <a:lnTo>
                    <a:pt x="627083" y="1061330"/>
                  </a:lnTo>
                  <a:lnTo>
                    <a:pt x="612993" y="1073026"/>
                  </a:lnTo>
                  <a:lnTo>
                    <a:pt x="597974" y="1090400"/>
                  </a:lnTo>
                  <a:lnTo>
                    <a:pt x="593787" y="1104059"/>
                  </a:lnTo>
                  <a:lnTo>
                    <a:pt x="595701" y="1120166"/>
                  </a:lnTo>
                  <a:lnTo>
                    <a:pt x="619111" y="1162610"/>
                  </a:lnTo>
                  <a:lnTo>
                    <a:pt x="636960" y="1216427"/>
                  </a:lnTo>
                  <a:lnTo>
                    <a:pt x="637811" y="1220920"/>
                  </a:lnTo>
                  <a:lnTo>
                    <a:pt x="637940" y="1221602"/>
                  </a:lnTo>
                  <a:lnTo>
                    <a:pt x="622534" y="1220375"/>
                  </a:lnTo>
                  <a:lnTo>
                    <a:pt x="575181" y="1202916"/>
                  </a:lnTo>
                  <a:lnTo>
                    <a:pt x="550765" y="1187336"/>
                  </a:lnTo>
                  <a:lnTo>
                    <a:pt x="509578" y="1144573"/>
                  </a:lnTo>
                  <a:lnTo>
                    <a:pt x="392527" y="1100985"/>
                  </a:lnTo>
                  <a:lnTo>
                    <a:pt x="365942" y="1078603"/>
                  </a:lnTo>
                  <a:lnTo>
                    <a:pt x="352734" y="1057910"/>
                  </a:lnTo>
                  <a:lnTo>
                    <a:pt x="351577" y="1042587"/>
                  </a:lnTo>
                  <a:lnTo>
                    <a:pt x="355908" y="1025236"/>
                  </a:lnTo>
                  <a:lnTo>
                    <a:pt x="360351" y="987241"/>
                  </a:lnTo>
                  <a:lnTo>
                    <a:pt x="365621" y="971913"/>
                  </a:lnTo>
                  <a:lnTo>
                    <a:pt x="366045" y="962343"/>
                  </a:lnTo>
                  <a:lnTo>
                    <a:pt x="362033" y="957115"/>
                  </a:lnTo>
                  <a:lnTo>
                    <a:pt x="355139" y="957353"/>
                  </a:lnTo>
                  <a:lnTo>
                    <a:pt x="350625" y="953114"/>
                  </a:lnTo>
                  <a:lnTo>
                    <a:pt x="353282" y="934682"/>
                  </a:lnTo>
                  <a:lnTo>
                    <a:pt x="147192" y="858896"/>
                  </a:lnTo>
                  <a:lnTo>
                    <a:pt x="128800" y="855205"/>
                  </a:lnTo>
                  <a:lnTo>
                    <a:pt x="70486" y="859653"/>
                  </a:lnTo>
                  <a:lnTo>
                    <a:pt x="50053" y="853157"/>
                  </a:lnTo>
                  <a:lnTo>
                    <a:pt x="58329" y="843612"/>
                  </a:lnTo>
                  <a:lnTo>
                    <a:pt x="78134" y="820764"/>
                  </a:lnTo>
                  <a:lnTo>
                    <a:pt x="82437" y="815796"/>
                  </a:lnTo>
                  <a:lnTo>
                    <a:pt x="92108" y="773934"/>
                  </a:lnTo>
                  <a:lnTo>
                    <a:pt x="90685" y="767462"/>
                  </a:lnTo>
                  <a:lnTo>
                    <a:pt x="86454" y="748189"/>
                  </a:lnTo>
                  <a:lnTo>
                    <a:pt x="82895" y="731968"/>
                  </a:lnTo>
                  <a:lnTo>
                    <a:pt x="58406" y="693932"/>
                  </a:lnTo>
                  <a:lnTo>
                    <a:pt x="42629" y="683520"/>
                  </a:lnTo>
                  <a:lnTo>
                    <a:pt x="26483" y="672857"/>
                  </a:lnTo>
                  <a:lnTo>
                    <a:pt x="27055" y="658747"/>
                  </a:lnTo>
                  <a:lnTo>
                    <a:pt x="39190" y="634851"/>
                  </a:lnTo>
                  <a:lnTo>
                    <a:pt x="40890" y="623323"/>
                  </a:lnTo>
                  <a:lnTo>
                    <a:pt x="32520" y="600317"/>
                  </a:lnTo>
                  <a:lnTo>
                    <a:pt x="22721" y="585663"/>
                  </a:lnTo>
                  <a:lnTo>
                    <a:pt x="18515" y="571151"/>
                  </a:lnTo>
                  <a:lnTo>
                    <a:pt x="22003" y="562022"/>
                  </a:lnTo>
                  <a:lnTo>
                    <a:pt x="27023" y="548887"/>
                  </a:lnTo>
                  <a:lnTo>
                    <a:pt x="13433" y="534966"/>
                  </a:lnTo>
                  <a:lnTo>
                    <a:pt x="9296" y="530725"/>
                  </a:lnTo>
                  <a:lnTo>
                    <a:pt x="0" y="515372"/>
                  </a:lnTo>
                  <a:lnTo>
                    <a:pt x="38346" y="456913"/>
                  </a:lnTo>
                  <a:lnTo>
                    <a:pt x="78092" y="413323"/>
                  </a:lnTo>
                  <a:lnTo>
                    <a:pt x="82839" y="402359"/>
                  </a:lnTo>
                  <a:lnTo>
                    <a:pt x="89902" y="374001"/>
                  </a:lnTo>
                  <a:lnTo>
                    <a:pt x="95718" y="359685"/>
                  </a:lnTo>
                  <a:lnTo>
                    <a:pt x="140918" y="307704"/>
                  </a:lnTo>
                  <a:lnTo>
                    <a:pt x="152769" y="283528"/>
                  </a:lnTo>
                  <a:lnTo>
                    <a:pt x="156944" y="214729"/>
                  </a:lnTo>
                  <a:lnTo>
                    <a:pt x="126837" y="185439"/>
                  </a:lnTo>
                  <a:lnTo>
                    <a:pt x="86899" y="164749"/>
                  </a:lnTo>
                  <a:lnTo>
                    <a:pt x="56849" y="114145"/>
                  </a:lnTo>
                  <a:lnTo>
                    <a:pt x="55247" y="104308"/>
                  </a:lnTo>
                  <a:lnTo>
                    <a:pt x="50532" y="75328"/>
                  </a:lnTo>
                  <a:lnTo>
                    <a:pt x="53088" y="77099"/>
                  </a:lnTo>
                  <a:lnTo>
                    <a:pt x="57693" y="78616"/>
                  </a:lnTo>
                  <a:lnTo>
                    <a:pt x="120958" y="99367"/>
                  </a:lnTo>
                  <a:lnTo>
                    <a:pt x="191285" y="101501"/>
                  </a:lnTo>
                  <a:lnTo>
                    <a:pt x="221875" y="88636"/>
                  </a:lnTo>
                  <a:lnTo>
                    <a:pt x="238899" y="64525"/>
                  </a:lnTo>
                  <a:lnTo>
                    <a:pt x="253868" y="35602"/>
                  </a:lnTo>
                  <a:lnTo>
                    <a:pt x="279053" y="8839"/>
                  </a:lnTo>
                  <a:lnTo>
                    <a:pt x="295293" y="1092"/>
                  </a:lnTo>
                  <a:lnTo>
                    <a:pt x="311793" y="0"/>
                  </a:lnTo>
                  <a:lnTo>
                    <a:pt x="327045" y="6332"/>
                  </a:lnTo>
                  <a:lnTo>
                    <a:pt x="339200" y="20941"/>
                  </a:lnTo>
                  <a:lnTo>
                    <a:pt x="341950" y="40333"/>
                  </a:lnTo>
                  <a:lnTo>
                    <a:pt x="338900" y="60006"/>
                  </a:lnTo>
                  <a:lnTo>
                    <a:pt x="342312" y="77365"/>
                  </a:lnTo>
                  <a:close/>
                </a:path>
              </a:pathLst>
            </a:custGeom>
            <a:solidFill>
              <a:schemeClr val="tx2"/>
            </a:solidFill>
            <a:ln w="3175" cap="rnd">
              <a:solidFill>
                <a:srgbClr val="C0C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IE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" name="Freeform 3">
              <a:extLst>
                <a:ext uri="{FF2B5EF4-FFF2-40B4-BE49-F238E27FC236}">
                  <a16:creationId xmlns:a16="http://schemas.microsoft.com/office/drawing/2014/main" id="{B2CBB551-E0E3-4E9C-0B89-D9547A593D58}"/>
                </a:ext>
              </a:extLst>
            </p:cNvPr>
            <p:cNvSpPr>
              <a:spLocks noChangeAspect="1"/>
            </p:cNvSpPr>
            <p:nvPr>
              <p:custDataLst>
                <p:tags r:id="rId2"/>
              </p:custDataLst>
            </p:nvPr>
          </p:nvSpPr>
          <p:spPr>
            <a:xfrm>
              <a:off x="7556136" y="3169839"/>
              <a:ext cx="1192578" cy="2120132"/>
            </a:xfrm>
            <a:custGeom>
              <a:avLst/>
              <a:gdLst/>
              <a:ahLst/>
              <a:cxnLst/>
              <a:rect l="0" t="0" r="0" b="0"/>
              <a:pathLst>
                <a:path w="1192578" h="2120132">
                  <a:moveTo>
                    <a:pt x="1192577" y="169734"/>
                  </a:moveTo>
                  <a:lnTo>
                    <a:pt x="1127208" y="230413"/>
                  </a:lnTo>
                  <a:lnTo>
                    <a:pt x="1139319" y="243199"/>
                  </a:lnTo>
                  <a:lnTo>
                    <a:pt x="1139363" y="253297"/>
                  </a:lnTo>
                  <a:lnTo>
                    <a:pt x="1134574" y="263711"/>
                  </a:lnTo>
                  <a:lnTo>
                    <a:pt x="1132217" y="277797"/>
                  </a:lnTo>
                  <a:lnTo>
                    <a:pt x="1130212" y="280627"/>
                  </a:lnTo>
                  <a:lnTo>
                    <a:pt x="1120431" y="288046"/>
                  </a:lnTo>
                  <a:lnTo>
                    <a:pt x="1117731" y="292804"/>
                  </a:lnTo>
                  <a:lnTo>
                    <a:pt x="1119197" y="299803"/>
                  </a:lnTo>
                  <a:lnTo>
                    <a:pt x="1124754" y="302813"/>
                  </a:lnTo>
                  <a:lnTo>
                    <a:pt x="1130578" y="304382"/>
                  </a:lnTo>
                  <a:lnTo>
                    <a:pt x="1132986" y="307508"/>
                  </a:lnTo>
                  <a:lnTo>
                    <a:pt x="1129890" y="336649"/>
                  </a:lnTo>
                  <a:lnTo>
                    <a:pt x="1124622" y="358236"/>
                  </a:lnTo>
                  <a:lnTo>
                    <a:pt x="1114611" y="375169"/>
                  </a:lnTo>
                  <a:lnTo>
                    <a:pt x="1097397" y="390216"/>
                  </a:lnTo>
                  <a:lnTo>
                    <a:pt x="1060087" y="400461"/>
                  </a:lnTo>
                  <a:lnTo>
                    <a:pt x="1046803" y="408286"/>
                  </a:lnTo>
                  <a:lnTo>
                    <a:pt x="1047984" y="425982"/>
                  </a:lnTo>
                  <a:lnTo>
                    <a:pt x="1055200" y="432963"/>
                  </a:lnTo>
                  <a:lnTo>
                    <a:pt x="1078573" y="442496"/>
                  </a:lnTo>
                  <a:lnTo>
                    <a:pt x="1087443" y="448550"/>
                  </a:lnTo>
                  <a:lnTo>
                    <a:pt x="1099380" y="478396"/>
                  </a:lnTo>
                  <a:lnTo>
                    <a:pt x="1106973" y="488336"/>
                  </a:lnTo>
                  <a:lnTo>
                    <a:pt x="1091506" y="507385"/>
                  </a:lnTo>
                  <a:lnTo>
                    <a:pt x="1094313" y="535271"/>
                  </a:lnTo>
                  <a:lnTo>
                    <a:pt x="1103223" y="567827"/>
                  </a:lnTo>
                  <a:lnTo>
                    <a:pt x="1107801" y="620786"/>
                  </a:lnTo>
                  <a:lnTo>
                    <a:pt x="1114007" y="636899"/>
                  </a:lnTo>
                  <a:lnTo>
                    <a:pt x="1123861" y="648836"/>
                  </a:lnTo>
                  <a:lnTo>
                    <a:pt x="1136660" y="656045"/>
                  </a:lnTo>
                  <a:lnTo>
                    <a:pt x="1114691" y="667621"/>
                  </a:lnTo>
                  <a:lnTo>
                    <a:pt x="1035566" y="682121"/>
                  </a:lnTo>
                  <a:lnTo>
                    <a:pt x="949922" y="707946"/>
                  </a:lnTo>
                  <a:lnTo>
                    <a:pt x="908102" y="702205"/>
                  </a:lnTo>
                  <a:lnTo>
                    <a:pt x="890236" y="660362"/>
                  </a:lnTo>
                  <a:lnTo>
                    <a:pt x="876336" y="673321"/>
                  </a:lnTo>
                  <a:lnTo>
                    <a:pt x="856418" y="708584"/>
                  </a:lnTo>
                  <a:lnTo>
                    <a:pt x="844863" y="721096"/>
                  </a:lnTo>
                  <a:lnTo>
                    <a:pt x="835359" y="723831"/>
                  </a:lnTo>
                  <a:lnTo>
                    <a:pt x="773330" y="716827"/>
                  </a:lnTo>
                  <a:lnTo>
                    <a:pt x="761261" y="710123"/>
                  </a:lnTo>
                  <a:lnTo>
                    <a:pt x="748501" y="697938"/>
                  </a:lnTo>
                  <a:lnTo>
                    <a:pt x="745605" y="692705"/>
                  </a:lnTo>
                  <a:lnTo>
                    <a:pt x="739406" y="681506"/>
                  </a:lnTo>
                  <a:lnTo>
                    <a:pt x="734592" y="664557"/>
                  </a:lnTo>
                  <a:lnTo>
                    <a:pt x="728082" y="650203"/>
                  </a:lnTo>
                  <a:lnTo>
                    <a:pt x="713886" y="641101"/>
                  </a:lnTo>
                  <a:lnTo>
                    <a:pt x="624926" y="610633"/>
                  </a:lnTo>
                  <a:lnTo>
                    <a:pt x="578854" y="606764"/>
                  </a:lnTo>
                  <a:lnTo>
                    <a:pt x="539538" y="626653"/>
                  </a:lnTo>
                  <a:lnTo>
                    <a:pt x="533637" y="642625"/>
                  </a:lnTo>
                  <a:lnTo>
                    <a:pt x="536439" y="663957"/>
                  </a:lnTo>
                  <a:lnTo>
                    <a:pt x="531029" y="678189"/>
                  </a:lnTo>
                  <a:lnTo>
                    <a:pt x="522134" y="687552"/>
                  </a:lnTo>
                  <a:lnTo>
                    <a:pt x="479461" y="712466"/>
                  </a:lnTo>
                  <a:lnTo>
                    <a:pt x="466940" y="724751"/>
                  </a:lnTo>
                  <a:lnTo>
                    <a:pt x="459887" y="729538"/>
                  </a:lnTo>
                  <a:lnTo>
                    <a:pt x="454757" y="728689"/>
                  </a:lnTo>
                  <a:lnTo>
                    <a:pt x="449127" y="723830"/>
                  </a:lnTo>
                  <a:lnTo>
                    <a:pt x="442477" y="716062"/>
                  </a:lnTo>
                  <a:lnTo>
                    <a:pt x="434779" y="724529"/>
                  </a:lnTo>
                  <a:lnTo>
                    <a:pt x="419238" y="752233"/>
                  </a:lnTo>
                  <a:lnTo>
                    <a:pt x="410110" y="764791"/>
                  </a:lnTo>
                  <a:lnTo>
                    <a:pt x="430358" y="775471"/>
                  </a:lnTo>
                  <a:lnTo>
                    <a:pt x="492667" y="797897"/>
                  </a:lnTo>
                  <a:lnTo>
                    <a:pt x="522707" y="789859"/>
                  </a:lnTo>
                  <a:lnTo>
                    <a:pt x="576288" y="809291"/>
                  </a:lnTo>
                  <a:lnTo>
                    <a:pt x="595997" y="816429"/>
                  </a:lnTo>
                  <a:lnTo>
                    <a:pt x="631830" y="808700"/>
                  </a:lnTo>
                  <a:lnTo>
                    <a:pt x="656169" y="818683"/>
                  </a:lnTo>
                  <a:lnTo>
                    <a:pt x="676395" y="843647"/>
                  </a:lnTo>
                  <a:lnTo>
                    <a:pt x="687083" y="876083"/>
                  </a:lnTo>
                  <a:lnTo>
                    <a:pt x="682315" y="907834"/>
                  </a:lnTo>
                  <a:lnTo>
                    <a:pt x="701341" y="917531"/>
                  </a:lnTo>
                  <a:lnTo>
                    <a:pt x="717190" y="932372"/>
                  </a:lnTo>
                  <a:lnTo>
                    <a:pt x="726569" y="952367"/>
                  </a:lnTo>
                  <a:lnTo>
                    <a:pt x="726403" y="977444"/>
                  </a:lnTo>
                  <a:lnTo>
                    <a:pt x="715620" y="998689"/>
                  </a:lnTo>
                  <a:lnTo>
                    <a:pt x="684220" y="1013582"/>
                  </a:lnTo>
                  <a:lnTo>
                    <a:pt x="672322" y="1027671"/>
                  </a:lnTo>
                  <a:lnTo>
                    <a:pt x="679533" y="1092940"/>
                  </a:lnTo>
                  <a:lnTo>
                    <a:pt x="664772" y="1105566"/>
                  </a:lnTo>
                  <a:lnTo>
                    <a:pt x="624858" y="1139673"/>
                  </a:lnTo>
                  <a:lnTo>
                    <a:pt x="508923" y="1198714"/>
                  </a:lnTo>
                  <a:lnTo>
                    <a:pt x="494870" y="1177750"/>
                  </a:lnTo>
                  <a:lnTo>
                    <a:pt x="479800" y="1168101"/>
                  </a:lnTo>
                  <a:lnTo>
                    <a:pt x="466205" y="1172429"/>
                  </a:lnTo>
                  <a:lnTo>
                    <a:pt x="455890" y="1193450"/>
                  </a:lnTo>
                  <a:lnTo>
                    <a:pt x="461103" y="1255654"/>
                  </a:lnTo>
                  <a:lnTo>
                    <a:pt x="458906" y="1260536"/>
                  </a:lnTo>
                  <a:lnTo>
                    <a:pt x="453560" y="1263612"/>
                  </a:lnTo>
                  <a:lnTo>
                    <a:pt x="448955" y="1268166"/>
                  </a:lnTo>
                  <a:lnTo>
                    <a:pt x="448655" y="1277809"/>
                  </a:lnTo>
                  <a:lnTo>
                    <a:pt x="451974" y="1283904"/>
                  </a:lnTo>
                  <a:lnTo>
                    <a:pt x="457087" y="1286388"/>
                  </a:lnTo>
                  <a:lnTo>
                    <a:pt x="462054" y="1288083"/>
                  </a:lnTo>
                  <a:lnTo>
                    <a:pt x="465142" y="1291195"/>
                  </a:lnTo>
                  <a:lnTo>
                    <a:pt x="501432" y="1360264"/>
                  </a:lnTo>
                  <a:lnTo>
                    <a:pt x="506949" y="1386790"/>
                  </a:lnTo>
                  <a:lnTo>
                    <a:pt x="500537" y="1408837"/>
                  </a:lnTo>
                  <a:lnTo>
                    <a:pt x="485500" y="1423823"/>
                  </a:lnTo>
                  <a:lnTo>
                    <a:pt x="451936" y="1443799"/>
                  </a:lnTo>
                  <a:lnTo>
                    <a:pt x="451941" y="1443923"/>
                  </a:lnTo>
                  <a:lnTo>
                    <a:pt x="451943" y="1443967"/>
                  </a:lnTo>
                  <a:lnTo>
                    <a:pt x="456715" y="1472164"/>
                  </a:lnTo>
                  <a:lnTo>
                    <a:pt x="441131" y="1508447"/>
                  </a:lnTo>
                  <a:lnTo>
                    <a:pt x="446069" y="1535123"/>
                  </a:lnTo>
                  <a:lnTo>
                    <a:pt x="452913" y="1540570"/>
                  </a:lnTo>
                  <a:lnTo>
                    <a:pt x="461669" y="1539464"/>
                  </a:lnTo>
                  <a:lnTo>
                    <a:pt x="470950" y="1539975"/>
                  </a:lnTo>
                  <a:lnTo>
                    <a:pt x="478786" y="1550180"/>
                  </a:lnTo>
                  <a:lnTo>
                    <a:pt x="479696" y="1564443"/>
                  </a:lnTo>
                  <a:lnTo>
                    <a:pt x="471782" y="1592513"/>
                  </a:lnTo>
                  <a:lnTo>
                    <a:pt x="471796" y="1601510"/>
                  </a:lnTo>
                  <a:lnTo>
                    <a:pt x="487033" y="1610741"/>
                  </a:lnTo>
                  <a:lnTo>
                    <a:pt x="523653" y="1591264"/>
                  </a:lnTo>
                  <a:lnTo>
                    <a:pt x="541881" y="1592292"/>
                  </a:lnTo>
                  <a:lnTo>
                    <a:pt x="556158" y="1611473"/>
                  </a:lnTo>
                  <a:lnTo>
                    <a:pt x="551677" y="1630713"/>
                  </a:lnTo>
                  <a:lnTo>
                    <a:pt x="527782" y="1665203"/>
                  </a:lnTo>
                  <a:lnTo>
                    <a:pt x="505051" y="1680676"/>
                  </a:lnTo>
                  <a:lnTo>
                    <a:pt x="498799" y="1704689"/>
                  </a:lnTo>
                  <a:lnTo>
                    <a:pt x="507892" y="1725813"/>
                  </a:lnTo>
                  <a:lnTo>
                    <a:pt x="530493" y="1732381"/>
                  </a:lnTo>
                  <a:lnTo>
                    <a:pt x="543799" y="1738490"/>
                  </a:lnTo>
                  <a:lnTo>
                    <a:pt x="548031" y="1746769"/>
                  </a:lnTo>
                  <a:lnTo>
                    <a:pt x="543928" y="1755852"/>
                  </a:lnTo>
                  <a:lnTo>
                    <a:pt x="531784" y="1764380"/>
                  </a:lnTo>
                  <a:lnTo>
                    <a:pt x="483045" y="1786572"/>
                  </a:lnTo>
                  <a:lnTo>
                    <a:pt x="469693" y="1799634"/>
                  </a:lnTo>
                  <a:lnTo>
                    <a:pt x="501553" y="1802271"/>
                  </a:lnTo>
                  <a:lnTo>
                    <a:pt x="517561" y="1806923"/>
                  </a:lnTo>
                  <a:lnTo>
                    <a:pt x="534066" y="1820977"/>
                  </a:lnTo>
                  <a:lnTo>
                    <a:pt x="539698" y="1838370"/>
                  </a:lnTo>
                  <a:lnTo>
                    <a:pt x="518947" y="1844301"/>
                  </a:lnTo>
                  <a:lnTo>
                    <a:pt x="490102" y="1845796"/>
                  </a:lnTo>
                  <a:lnTo>
                    <a:pt x="471800" y="1849972"/>
                  </a:lnTo>
                  <a:lnTo>
                    <a:pt x="471807" y="1850140"/>
                  </a:lnTo>
                  <a:lnTo>
                    <a:pt x="467173" y="1854782"/>
                  </a:lnTo>
                  <a:lnTo>
                    <a:pt x="461842" y="1856341"/>
                  </a:lnTo>
                  <a:lnTo>
                    <a:pt x="456053" y="1854975"/>
                  </a:lnTo>
                  <a:lnTo>
                    <a:pt x="449922" y="1850760"/>
                  </a:lnTo>
                  <a:lnTo>
                    <a:pt x="430232" y="1837070"/>
                  </a:lnTo>
                  <a:lnTo>
                    <a:pt x="406645" y="1835089"/>
                  </a:lnTo>
                  <a:lnTo>
                    <a:pt x="361738" y="1842344"/>
                  </a:lnTo>
                  <a:lnTo>
                    <a:pt x="320082" y="1835570"/>
                  </a:lnTo>
                  <a:lnTo>
                    <a:pt x="305043" y="1838202"/>
                  </a:lnTo>
                  <a:lnTo>
                    <a:pt x="295183" y="1856573"/>
                  </a:lnTo>
                  <a:lnTo>
                    <a:pt x="291296" y="1881404"/>
                  </a:lnTo>
                  <a:lnTo>
                    <a:pt x="282638" y="1889173"/>
                  </a:lnTo>
                  <a:lnTo>
                    <a:pt x="271729" y="1892016"/>
                  </a:lnTo>
                  <a:lnTo>
                    <a:pt x="260857" y="1902095"/>
                  </a:lnTo>
                  <a:lnTo>
                    <a:pt x="258361" y="1912115"/>
                  </a:lnTo>
                  <a:lnTo>
                    <a:pt x="259611" y="1921108"/>
                  </a:lnTo>
                  <a:lnTo>
                    <a:pt x="259404" y="1930998"/>
                  </a:lnTo>
                  <a:lnTo>
                    <a:pt x="252390" y="1943118"/>
                  </a:lnTo>
                  <a:lnTo>
                    <a:pt x="244930" y="1949367"/>
                  </a:lnTo>
                  <a:lnTo>
                    <a:pt x="222131" y="1960130"/>
                  </a:lnTo>
                  <a:lnTo>
                    <a:pt x="194673" y="1981910"/>
                  </a:lnTo>
                  <a:lnTo>
                    <a:pt x="182309" y="1995732"/>
                  </a:lnTo>
                  <a:lnTo>
                    <a:pt x="144009" y="2052365"/>
                  </a:lnTo>
                  <a:lnTo>
                    <a:pt x="130262" y="2066608"/>
                  </a:lnTo>
                  <a:lnTo>
                    <a:pt x="112760" y="2075599"/>
                  </a:lnTo>
                  <a:lnTo>
                    <a:pt x="68039" y="2104371"/>
                  </a:lnTo>
                  <a:lnTo>
                    <a:pt x="45276" y="2119007"/>
                  </a:lnTo>
                  <a:lnTo>
                    <a:pt x="41326" y="2120131"/>
                  </a:lnTo>
                  <a:lnTo>
                    <a:pt x="41262" y="2119401"/>
                  </a:lnTo>
                  <a:lnTo>
                    <a:pt x="40688" y="2112692"/>
                  </a:lnTo>
                  <a:lnTo>
                    <a:pt x="38520" y="2094853"/>
                  </a:lnTo>
                  <a:lnTo>
                    <a:pt x="36492" y="2091056"/>
                  </a:lnTo>
                  <a:lnTo>
                    <a:pt x="31781" y="2084409"/>
                  </a:lnTo>
                  <a:lnTo>
                    <a:pt x="17623" y="2073842"/>
                  </a:lnTo>
                  <a:lnTo>
                    <a:pt x="11958" y="2066172"/>
                  </a:lnTo>
                  <a:lnTo>
                    <a:pt x="10811" y="2056162"/>
                  </a:lnTo>
                  <a:lnTo>
                    <a:pt x="14703" y="2028828"/>
                  </a:lnTo>
                  <a:lnTo>
                    <a:pt x="14998" y="2012207"/>
                  </a:lnTo>
                  <a:lnTo>
                    <a:pt x="18260" y="1996750"/>
                  </a:lnTo>
                  <a:lnTo>
                    <a:pt x="25641" y="1980896"/>
                  </a:lnTo>
                  <a:lnTo>
                    <a:pt x="64175" y="1944787"/>
                  </a:lnTo>
                  <a:lnTo>
                    <a:pt x="115359" y="1871411"/>
                  </a:lnTo>
                  <a:lnTo>
                    <a:pt x="142935" y="1827875"/>
                  </a:lnTo>
                  <a:lnTo>
                    <a:pt x="150219" y="1810417"/>
                  </a:lnTo>
                  <a:lnTo>
                    <a:pt x="151025" y="1799325"/>
                  </a:lnTo>
                  <a:lnTo>
                    <a:pt x="147613" y="1785698"/>
                  </a:lnTo>
                  <a:lnTo>
                    <a:pt x="105574" y="1735953"/>
                  </a:lnTo>
                  <a:lnTo>
                    <a:pt x="95147" y="1717949"/>
                  </a:lnTo>
                  <a:lnTo>
                    <a:pt x="89890" y="1695471"/>
                  </a:lnTo>
                  <a:lnTo>
                    <a:pt x="88111" y="1679133"/>
                  </a:lnTo>
                  <a:lnTo>
                    <a:pt x="97977" y="1628079"/>
                  </a:lnTo>
                  <a:lnTo>
                    <a:pt x="96422" y="1584152"/>
                  </a:lnTo>
                  <a:lnTo>
                    <a:pt x="61973" y="1467388"/>
                  </a:lnTo>
                  <a:lnTo>
                    <a:pt x="59545" y="1442078"/>
                  </a:lnTo>
                  <a:lnTo>
                    <a:pt x="48841" y="1380812"/>
                  </a:lnTo>
                  <a:lnTo>
                    <a:pt x="36778" y="1335826"/>
                  </a:lnTo>
                  <a:lnTo>
                    <a:pt x="23084" y="1296023"/>
                  </a:lnTo>
                  <a:lnTo>
                    <a:pt x="2018" y="1250168"/>
                  </a:lnTo>
                  <a:lnTo>
                    <a:pt x="0" y="1236196"/>
                  </a:lnTo>
                  <a:lnTo>
                    <a:pt x="3281" y="1222457"/>
                  </a:lnTo>
                  <a:lnTo>
                    <a:pt x="19189" y="1198737"/>
                  </a:lnTo>
                  <a:lnTo>
                    <a:pt x="30047" y="1187004"/>
                  </a:lnTo>
                  <a:lnTo>
                    <a:pt x="43346" y="1184942"/>
                  </a:lnTo>
                  <a:lnTo>
                    <a:pt x="49630" y="1193759"/>
                  </a:lnTo>
                  <a:lnTo>
                    <a:pt x="53425" y="1204644"/>
                  </a:lnTo>
                  <a:lnTo>
                    <a:pt x="57599" y="1211642"/>
                  </a:lnTo>
                  <a:lnTo>
                    <a:pt x="77486" y="1199503"/>
                  </a:lnTo>
                  <a:lnTo>
                    <a:pt x="138547" y="1130370"/>
                  </a:lnTo>
                  <a:lnTo>
                    <a:pt x="201850" y="1129221"/>
                  </a:lnTo>
                  <a:lnTo>
                    <a:pt x="229595" y="1122974"/>
                  </a:lnTo>
                  <a:lnTo>
                    <a:pt x="256517" y="1107082"/>
                  </a:lnTo>
                  <a:lnTo>
                    <a:pt x="273865" y="1092209"/>
                  </a:lnTo>
                  <a:lnTo>
                    <a:pt x="328932" y="1028371"/>
                  </a:lnTo>
                  <a:lnTo>
                    <a:pt x="330175" y="1012007"/>
                  </a:lnTo>
                  <a:lnTo>
                    <a:pt x="330088" y="992075"/>
                  </a:lnTo>
                  <a:lnTo>
                    <a:pt x="323222" y="973000"/>
                  </a:lnTo>
                  <a:lnTo>
                    <a:pt x="318931" y="949951"/>
                  </a:lnTo>
                  <a:lnTo>
                    <a:pt x="320958" y="914211"/>
                  </a:lnTo>
                  <a:lnTo>
                    <a:pt x="326528" y="895326"/>
                  </a:lnTo>
                  <a:lnTo>
                    <a:pt x="336301" y="875310"/>
                  </a:lnTo>
                  <a:lnTo>
                    <a:pt x="342858" y="864581"/>
                  </a:lnTo>
                  <a:lnTo>
                    <a:pt x="376160" y="792879"/>
                  </a:lnTo>
                  <a:lnTo>
                    <a:pt x="341975" y="744091"/>
                  </a:lnTo>
                  <a:lnTo>
                    <a:pt x="303273" y="701936"/>
                  </a:lnTo>
                  <a:lnTo>
                    <a:pt x="285392" y="673857"/>
                  </a:lnTo>
                  <a:lnTo>
                    <a:pt x="275985" y="654113"/>
                  </a:lnTo>
                  <a:lnTo>
                    <a:pt x="272700" y="554828"/>
                  </a:lnTo>
                  <a:lnTo>
                    <a:pt x="310092" y="548890"/>
                  </a:lnTo>
                  <a:lnTo>
                    <a:pt x="322540" y="537816"/>
                  </a:lnTo>
                  <a:lnTo>
                    <a:pt x="335357" y="521797"/>
                  </a:lnTo>
                  <a:lnTo>
                    <a:pt x="341218" y="507021"/>
                  </a:lnTo>
                  <a:lnTo>
                    <a:pt x="344707" y="487960"/>
                  </a:lnTo>
                  <a:lnTo>
                    <a:pt x="344438" y="424889"/>
                  </a:lnTo>
                  <a:lnTo>
                    <a:pt x="359737" y="392240"/>
                  </a:lnTo>
                  <a:lnTo>
                    <a:pt x="376058" y="373007"/>
                  </a:lnTo>
                  <a:lnTo>
                    <a:pt x="427146" y="329931"/>
                  </a:lnTo>
                  <a:lnTo>
                    <a:pt x="458041" y="319346"/>
                  </a:lnTo>
                  <a:lnTo>
                    <a:pt x="496075" y="315313"/>
                  </a:lnTo>
                  <a:lnTo>
                    <a:pt x="573509" y="337471"/>
                  </a:lnTo>
                  <a:lnTo>
                    <a:pt x="615113" y="313848"/>
                  </a:lnTo>
                  <a:lnTo>
                    <a:pt x="635336" y="291365"/>
                  </a:lnTo>
                  <a:lnTo>
                    <a:pt x="671803" y="263137"/>
                  </a:lnTo>
                  <a:lnTo>
                    <a:pt x="686366" y="248374"/>
                  </a:lnTo>
                  <a:lnTo>
                    <a:pt x="696500" y="227659"/>
                  </a:lnTo>
                  <a:lnTo>
                    <a:pt x="710052" y="186101"/>
                  </a:lnTo>
                  <a:lnTo>
                    <a:pt x="735852" y="162553"/>
                  </a:lnTo>
                  <a:lnTo>
                    <a:pt x="758507" y="150830"/>
                  </a:lnTo>
                  <a:lnTo>
                    <a:pt x="771026" y="147791"/>
                  </a:lnTo>
                  <a:lnTo>
                    <a:pt x="783911" y="149194"/>
                  </a:lnTo>
                  <a:lnTo>
                    <a:pt x="828781" y="125312"/>
                  </a:lnTo>
                  <a:lnTo>
                    <a:pt x="871295" y="90996"/>
                  </a:lnTo>
                  <a:lnTo>
                    <a:pt x="895823" y="78012"/>
                  </a:lnTo>
                  <a:lnTo>
                    <a:pt x="917961" y="74298"/>
                  </a:lnTo>
                  <a:lnTo>
                    <a:pt x="935308" y="81154"/>
                  </a:lnTo>
                  <a:lnTo>
                    <a:pt x="969675" y="105722"/>
                  </a:lnTo>
                  <a:lnTo>
                    <a:pt x="987318" y="113859"/>
                  </a:lnTo>
                  <a:lnTo>
                    <a:pt x="1000068" y="105222"/>
                  </a:lnTo>
                  <a:lnTo>
                    <a:pt x="1007095" y="89747"/>
                  </a:lnTo>
                  <a:lnTo>
                    <a:pt x="1007980" y="76407"/>
                  </a:lnTo>
                  <a:lnTo>
                    <a:pt x="1004025" y="64059"/>
                  </a:lnTo>
                  <a:lnTo>
                    <a:pt x="1002812" y="52669"/>
                  </a:lnTo>
                  <a:lnTo>
                    <a:pt x="1005876" y="28374"/>
                  </a:lnTo>
                  <a:lnTo>
                    <a:pt x="1019446" y="12545"/>
                  </a:lnTo>
                  <a:lnTo>
                    <a:pt x="1027193" y="8898"/>
                  </a:lnTo>
                  <a:lnTo>
                    <a:pt x="1038954" y="14103"/>
                  </a:lnTo>
                  <a:lnTo>
                    <a:pt x="1048505" y="20040"/>
                  </a:lnTo>
                  <a:lnTo>
                    <a:pt x="1061410" y="22118"/>
                  </a:lnTo>
                  <a:lnTo>
                    <a:pt x="1070701" y="19064"/>
                  </a:lnTo>
                  <a:lnTo>
                    <a:pt x="1078077" y="14753"/>
                  </a:lnTo>
                  <a:lnTo>
                    <a:pt x="1090842" y="0"/>
                  </a:lnTo>
                  <a:lnTo>
                    <a:pt x="1090846" y="0"/>
                  </a:lnTo>
                  <a:lnTo>
                    <a:pt x="1096451" y="9152"/>
                  </a:lnTo>
                  <a:lnTo>
                    <a:pt x="1111309" y="23628"/>
                  </a:lnTo>
                  <a:lnTo>
                    <a:pt x="1100877" y="37892"/>
                  </a:lnTo>
                  <a:lnTo>
                    <a:pt x="1096068" y="54616"/>
                  </a:lnTo>
                  <a:lnTo>
                    <a:pt x="1091363" y="85132"/>
                  </a:lnTo>
                  <a:lnTo>
                    <a:pt x="1095755" y="87616"/>
                  </a:lnTo>
                  <a:lnTo>
                    <a:pt x="1109292" y="97857"/>
                  </a:lnTo>
                  <a:lnTo>
                    <a:pt x="1104752" y="124794"/>
                  </a:lnTo>
                  <a:lnTo>
                    <a:pt x="1130330" y="137269"/>
                  </a:lnTo>
                  <a:lnTo>
                    <a:pt x="1166078" y="148109"/>
                  </a:lnTo>
                  <a:close/>
                </a:path>
              </a:pathLst>
            </a:custGeom>
            <a:solidFill>
              <a:srgbClr val="DDDDDD"/>
            </a:solidFill>
            <a:ln w="3175" cap="rnd">
              <a:solidFill>
                <a:srgbClr val="C0C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IE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" name="Freeform 4">
              <a:extLst>
                <a:ext uri="{FF2B5EF4-FFF2-40B4-BE49-F238E27FC236}">
                  <a16:creationId xmlns:a16="http://schemas.microsoft.com/office/drawing/2014/main" id="{6F55520C-781D-27A2-4739-E2D680D8520B}"/>
                </a:ext>
              </a:extLst>
            </p:cNvPr>
            <p:cNvSpPr>
              <a:spLocks noChangeAspect="1"/>
            </p:cNvSpPr>
            <p:nvPr>
              <p:custDataLst>
                <p:tags r:id="rId3"/>
              </p:custDataLst>
            </p:nvPr>
          </p:nvSpPr>
          <p:spPr>
            <a:xfrm>
              <a:off x="4855127" y="3706331"/>
              <a:ext cx="2852035" cy="1964517"/>
            </a:xfrm>
            <a:custGeom>
              <a:avLst/>
              <a:gdLst/>
              <a:ahLst/>
              <a:cxnLst/>
              <a:rect l="0" t="0" r="0" b="0"/>
              <a:pathLst>
                <a:path w="2852035" h="1964517">
                  <a:moveTo>
                    <a:pt x="2316208" y="189192"/>
                  </a:moveTo>
                  <a:lnTo>
                    <a:pt x="2326891" y="188867"/>
                  </a:lnTo>
                  <a:lnTo>
                    <a:pt x="2335823" y="186832"/>
                  </a:lnTo>
                  <a:lnTo>
                    <a:pt x="2350147" y="189044"/>
                  </a:lnTo>
                  <a:lnTo>
                    <a:pt x="2358061" y="196155"/>
                  </a:lnTo>
                  <a:lnTo>
                    <a:pt x="2363620" y="207627"/>
                  </a:lnTo>
                  <a:lnTo>
                    <a:pt x="2371576" y="254465"/>
                  </a:lnTo>
                  <a:lnTo>
                    <a:pt x="2376053" y="272865"/>
                  </a:lnTo>
                  <a:lnTo>
                    <a:pt x="2385036" y="294031"/>
                  </a:lnTo>
                  <a:lnTo>
                    <a:pt x="2395613" y="300808"/>
                  </a:lnTo>
                  <a:lnTo>
                    <a:pt x="2407306" y="299722"/>
                  </a:lnTo>
                  <a:lnTo>
                    <a:pt x="2443386" y="278156"/>
                  </a:lnTo>
                  <a:lnTo>
                    <a:pt x="2457393" y="275183"/>
                  </a:lnTo>
                  <a:lnTo>
                    <a:pt x="2466033" y="279699"/>
                  </a:lnTo>
                  <a:lnTo>
                    <a:pt x="2471846" y="286073"/>
                  </a:lnTo>
                  <a:lnTo>
                    <a:pt x="2478873" y="298540"/>
                  </a:lnTo>
                  <a:lnTo>
                    <a:pt x="2480745" y="303861"/>
                  </a:lnTo>
                  <a:lnTo>
                    <a:pt x="2482906" y="312959"/>
                  </a:lnTo>
                  <a:lnTo>
                    <a:pt x="2483590" y="323613"/>
                  </a:lnTo>
                  <a:lnTo>
                    <a:pt x="2482782" y="335501"/>
                  </a:lnTo>
                  <a:lnTo>
                    <a:pt x="2478351" y="351031"/>
                  </a:lnTo>
                  <a:lnTo>
                    <a:pt x="2477227" y="358378"/>
                  </a:lnTo>
                  <a:lnTo>
                    <a:pt x="2480283" y="368788"/>
                  </a:lnTo>
                  <a:lnTo>
                    <a:pt x="2487435" y="372555"/>
                  </a:lnTo>
                  <a:lnTo>
                    <a:pt x="2495819" y="374090"/>
                  </a:lnTo>
                  <a:lnTo>
                    <a:pt x="2522328" y="373229"/>
                  </a:lnTo>
                  <a:lnTo>
                    <a:pt x="2551762" y="394042"/>
                  </a:lnTo>
                  <a:lnTo>
                    <a:pt x="2565931" y="419389"/>
                  </a:lnTo>
                  <a:lnTo>
                    <a:pt x="2580600" y="456151"/>
                  </a:lnTo>
                  <a:lnTo>
                    <a:pt x="2670650" y="468491"/>
                  </a:lnTo>
                  <a:lnTo>
                    <a:pt x="2698099" y="482428"/>
                  </a:lnTo>
                  <a:lnTo>
                    <a:pt x="2708645" y="491771"/>
                  </a:lnTo>
                  <a:lnTo>
                    <a:pt x="2717447" y="495039"/>
                  </a:lnTo>
                  <a:lnTo>
                    <a:pt x="2725289" y="495187"/>
                  </a:lnTo>
                  <a:lnTo>
                    <a:pt x="2735879" y="491073"/>
                  </a:lnTo>
                  <a:lnTo>
                    <a:pt x="2761167" y="477101"/>
                  </a:lnTo>
                  <a:lnTo>
                    <a:pt x="2766519" y="479102"/>
                  </a:lnTo>
                  <a:lnTo>
                    <a:pt x="2770432" y="483755"/>
                  </a:lnTo>
                  <a:lnTo>
                    <a:pt x="2773931" y="491112"/>
                  </a:lnTo>
                  <a:lnTo>
                    <a:pt x="2777591" y="503012"/>
                  </a:lnTo>
                  <a:lnTo>
                    <a:pt x="2779019" y="514396"/>
                  </a:lnTo>
                  <a:lnTo>
                    <a:pt x="2780637" y="521571"/>
                  </a:lnTo>
                  <a:lnTo>
                    <a:pt x="2788077" y="539047"/>
                  </a:lnTo>
                  <a:lnTo>
                    <a:pt x="2800553" y="562190"/>
                  </a:lnTo>
                  <a:lnTo>
                    <a:pt x="2839556" y="593878"/>
                  </a:lnTo>
                  <a:lnTo>
                    <a:pt x="2778495" y="663011"/>
                  </a:lnTo>
                  <a:lnTo>
                    <a:pt x="2758608" y="675150"/>
                  </a:lnTo>
                  <a:lnTo>
                    <a:pt x="2754434" y="668152"/>
                  </a:lnTo>
                  <a:lnTo>
                    <a:pt x="2750639" y="657267"/>
                  </a:lnTo>
                  <a:lnTo>
                    <a:pt x="2744355" y="648450"/>
                  </a:lnTo>
                  <a:lnTo>
                    <a:pt x="2731056" y="650512"/>
                  </a:lnTo>
                  <a:lnTo>
                    <a:pt x="2720198" y="662245"/>
                  </a:lnTo>
                  <a:lnTo>
                    <a:pt x="2704290" y="685965"/>
                  </a:lnTo>
                  <a:lnTo>
                    <a:pt x="2701009" y="699704"/>
                  </a:lnTo>
                  <a:lnTo>
                    <a:pt x="2703027" y="713676"/>
                  </a:lnTo>
                  <a:lnTo>
                    <a:pt x="2724093" y="759531"/>
                  </a:lnTo>
                  <a:lnTo>
                    <a:pt x="2737787" y="799334"/>
                  </a:lnTo>
                  <a:lnTo>
                    <a:pt x="2749850" y="844320"/>
                  </a:lnTo>
                  <a:lnTo>
                    <a:pt x="2760554" y="905586"/>
                  </a:lnTo>
                  <a:lnTo>
                    <a:pt x="2762982" y="930896"/>
                  </a:lnTo>
                  <a:lnTo>
                    <a:pt x="2797431" y="1047660"/>
                  </a:lnTo>
                  <a:lnTo>
                    <a:pt x="2798986" y="1091587"/>
                  </a:lnTo>
                  <a:lnTo>
                    <a:pt x="2789120" y="1142641"/>
                  </a:lnTo>
                  <a:lnTo>
                    <a:pt x="2790899" y="1158979"/>
                  </a:lnTo>
                  <a:lnTo>
                    <a:pt x="2796156" y="1181457"/>
                  </a:lnTo>
                  <a:lnTo>
                    <a:pt x="2806583" y="1199461"/>
                  </a:lnTo>
                  <a:lnTo>
                    <a:pt x="2848622" y="1249206"/>
                  </a:lnTo>
                  <a:lnTo>
                    <a:pt x="2852034" y="1262833"/>
                  </a:lnTo>
                  <a:lnTo>
                    <a:pt x="2851228" y="1273925"/>
                  </a:lnTo>
                  <a:lnTo>
                    <a:pt x="2843944" y="1291383"/>
                  </a:lnTo>
                  <a:lnTo>
                    <a:pt x="2816368" y="1334919"/>
                  </a:lnTo>
                  <a:lnTo>
                    <a:pt x="2765184" y="1408295"/>
                  </a:lnTo>
                  <a:lnTo>
                    <a:pt x="2726650" y="1444404"/>
                  </a:lnTo>
                  <a:lnTo>
                    <a:pt x="2719269" y="1460258"/>
                  </a:lnTo>
                  <a:lnTo>
                    <a:pt x="2716007" y="1475715"/>
                  </a:lnTo>
                  <a:lnTo>
                    <a:pt x="2715712" y="1492336"/>
                  </a:lnTo>
                  <a:lnTo>
                    <a:pt x="2711820" y="1519670"/>
                  </a:lnTo>
                  <a:lnTo>
                    <a:pt x="2712967" y="1529680"/>
                  </a:lnTo>
                  <a:lnTo>
                    <a:pt x="2718632" y="1537350"/>
                  </a:lnTo>
                  <a:lnTo>
                    <a:pt x="2732790" y="1547917"/>
                  </a:lnTo>
                  <a:lnTo>
                    <a:pt x="2737501" y="1554564"/>
                  </a:lnTo>
                  <a:lnTo>
                    <a:pt x="2739529" y="1558361"/>
                  </a:lnTo>
                  <a:lnTo>
                    <a:pt x="2741697" y="1576200"/>
                  </a:lnTo>
                  <a:lnTo>
                    <a:pt x="2742271" y="1582909"/>
                  </a:lnTo>
                  <a:lnTo>
                    <a:pt x="2742335" y="1583639"/>
                  </a:lnTo>
                  <a:lnTo>
                    <a:pt x="2697299" y="1596480"/>
                  </a:lnTo>
                  <a:lnTo>
                    <a:pt x="2690876" y="1600479"/>
                  </a:lnTo>
                  <a:lnTo>
                    <a:pt x="2680460" y="1612311"/>
                  </a:lnTo>
                  <a:lnTo>
                    <a:pt x="2681616" y="1615847"/>
                  </a:lnTo>
                  <a:lnTo>
                    <a:pt x="2686680" y="1619294"/>
                  </a:lnTo>
                  <a:lnTo>
                    <a:pt x="2687988" y="1630763"/>
                  </a:lnTo>
                  <a:lnTo>
                    <a:pt x="2681987" y="1681506"/>
                  </a:lnTo>
                  <a:lnTo>
                    <a:pt x="2681854" y="1686433"/>
                  </a:lnTo>
                  <a:lnTo>
                    <a:pt x="2681220" y="1710079"/>
                  </a:lnTo>
                  <a:lnTo>
                    <a:pt x="2683099" y="1738519"/>
                  </a:lnTo>
                  <a:lnTo>
                    <a:pt x="2697217" y="1777858"/>
                  </a:lnTo>
                  <a:lnTo>
                    <a:pt x="2721455" y="1792249"/>
                  </a:lnTo>
                  <a:lnTo>
                    <a:pt x="2734868" y="1816971"/>
                  </a:lnTo>
                  <a:lnTo>
                    <a:pt x="2738561" y="1854304"/>
                  </a:lnTo>
                  <a:lnTo>
                    <a:pt x="2738570" y="1854391"/>
                  </a:lnTo>
                  <a:lnTo>
                    <a:pt x="2738415" y="1854204"/>
                  </a:lnTo>
                  <a:lnTo>
                    <a:pt x="2716697" y="1828650"/>
                  </a:lnTo>
                  <a:lnTo>
                    <a:pt x="2704194" y="1820506"/>
                  </a:lnTo>
                  <a:lnTo>
                    <a:pt x="2682483" y="1817395"/>
                  </a:lnTo>
                  <a:lnTo>
                    <a:pt x="2658652" y="1813972"/>
                  </a:lnTo>
                  <a:lnTo>
                    <a:pt x="2581841" y="1778179"/>
                  </a:lnTo>
                  <a:lnTo>
                    <a:pt x="2550669" y="1773055"/>
                  </a:lnTo>
                  <a:lnTo>
                    <a:pt x="2519783" y="1776737"/>
                  </a:lnTo>
                  <a:lnTo>
                    <a:pt x="2477618" y="1795380"/>
                  </a:lnTo>
                  <a:lnTo>
                    <a:pt x="2445190" y="1809696"/>
                  </a:lnTo>
                  <a:lnTo>
                    <a:pt x="2415752" y="1812290"/>
                  </a:lnTo>
                  <a:lnTo>
                    <a:pt x="2330018" y="1802152"/>
                  </a:lnTo>
                  <a:lnTo>
                    <a:pt x="2311729" y="1791723"/>
                  </a:lnTo>
                  <a:lnTo>
                    <a:pt x="2308992" y="1816356"/>
                  </a:lnTo>
                  <a:lnTo>
                    <a:pt x="2309719" y="1837224"/>
                  </a:lnTo>
                  <a:lnTo>
                    <a:pt x="2303452" y="1851658"/>
                  </a:lnTo>
                  <a:lnTo>
                    <a:pt x="2297739" y="1856220"/>
                  </a:lnTo>
                  <a:lnTo>
                    <a:pt x="2292180" y="1860653"/>
                  </a:lnTo>
                  <a:lnTo>
                    <a:pt x="2277892" y="1865186"/>
                  </a:lnTo>
                  <a:lnTo>
                    <a:pt x="2260926" y="1860888"/>
                  </a:lnTo>
                  <a:lnTo>
                    <a:pt x="2237192" y="1861908"/>
                  </a:lnTo>
                  <a:lnTo>
                    <a:pt x="2213511" y="1868890"/>
                  </a:lnTo>
                  <a:lnTo>
                    <a:pt x="2196817" y="1882439"/>
                  </a:lnTo>
                  <a:lnTo>
                    <a:pt x="2186511" y="1905889"/>
                  </a:lnTo>
                  <a:lnTo>
                    <a:pt x="2186002" y="1908975"/>
                  </a:lnTo>
                  <a:lnTo>
                    <a:pt x="2183449" y="1924468"/>
                  </a:lnTo>
                  <a:lnTo>
                    <a:pt x="2179581" y="1933842"/>
                  </a:lnTo>
                  <a:lnTo>
                    <a:pt x="2176744" y="1940717"/>
                  </a:lnTo>
                  <a:lnTo>
                    <a:pt x="2156429" y="1957672"/>
                  </a:lnTo>
                  <a:lnTo>
                    <a:pt x="2123126" y="1964516"/>
                  </a:lnTo>
                  <a:lnTo>
                    <a:pt x="2097431" y="1949373"/>
                  </a:lnTo>
                  <a:lnTo>
                    <a:pt x="2092131" y="1944955"/>
                  </a:lnTo>
                  <a:lnTo>
                    <a:pt x="2071808" y="1927996"/>
                  </a:lnTo>
                  <a:lnTo>
                    <a:pt x="2038609" y="1916480"/>
                  </a:lnTo>
                  <a:lnTo>
                    <a:pt x="1976924" y="1921332"/>
                  </a:lnTo>
                  <a:lnTo>
                    <a:pt x="1834373" y="1932391"/>
                  </a:lnTo>
                  <a:lnTo>
                    <a:pt x="1798193" y="1929351"/>
                  </a:lnTo>
                  <a:lnTo>
                    <a:pt x="1723271" y="1923017"/>
                  </a:lnTo>
                  <a:lnTo>
                    <a:pt x="1722771" y="1922395"/>
                  </a:lnTo>
                  <a:lnTo>
                    <a:pt x="1713450" y="1910756"/>
                  </a:lnTo>
                  <a:lnTo>
                    <a:pt x="1642111" y="1832154"/>
                  </a:lnTo>
                  <a:lnTo>
                    <a:pt x="1627795" y="1793638"/>
                  </a:lnTo>
                  <a:lnTo>
                    <a:pt x="1624035" y="1739423"/>
                  </a:lnTo>
                  <a:lnTo>
                    <a:pt x="1609861" y="1682404"/>
                  </a:lnTo>
                  <a:lnTo>
                    <a:pt x="1592460" y="1643273"/>
                  </a:lnTo>
                  <a:lnTo>
                    <a:pt x="1586429" y="1621840"/>
                  </a:lnTo>
                  <a:lnTo>
                    <a:pt x="1584057" y="1607477"/>
                  </a:lnTo>
                  <a:lnTo>
                    <a:pt x="1585583" y="1598113"/>
                  </a:lnTo>
                  <a:lnTo>
                    <a:pt x="1591199" y="1578325"/>
                  </a:lnTo>
                  <a:lnTo>
                    <a:pt x="1598186" y="1563638"/>
                  </a:lnTo>
                  <a:lnTo>
                    <a:pt x="1604305" y="1543459"/>
                  </a:lnTo>
                  <a:lnTo>
                    <a:pt x="1605502" y="1494721"/>
                  </a:lnTo>
                  <a:lnTo>
                    <a:pt x="1515364" y="1362641"/>
                  </a:lnTo>
                  <a:lnTo>
                    <a:pt x="1470625" y="1309588"/>
                  </a:lnTo>
                  <a:lnTo>
                    <a:pt x="1453981" y="1296474"/>
                  </a:lnTo>
                  <a:lnTo>
                    <a:pt x="1442501" y="1289386"/>
                  </a:lnTo>
                  <a:lnTo>
                    <a:pt x="1425441" y="1286867"/>
                  </a:lnTo>
                  <a:lnTo>
                    <a:pt x="1303216" y="1318411"/>
                  </a:lnTo>
                  <a:lnTo>
                    <a:pt x="1167018" y="1331393"/>
                  </a:lnTo>
                  <a:lnTo>
                    <a:pt x="1136862" y="1319577"/>
                  </a:lnTo>
                  <a:lnTo>
                    <a:pt x="1064539" y="1325504"/>
                  </a:lnTo>
                  <a:lnTo>
                    <a:pt x="1034430" y="1323441"/>
                  </a:lnTo>
                  <a:lnTo>
                    <a:pt x="921966" y="1365386"/>
                  </a:lnTo>
                  <a:lnTo>
                    <a:pt x="902013" y="1364818"/>
                  </a:lnTo>
                  <a:lnTo>
                    <a:pt x="892302" y="1362925"/>
                  </a:lnTo>
                  <a:lnTo>
                    <a:pt x="889493" y="1358509"/>
                  </a:lnTo>
                  <a:lnTo>
                    <a:pt x="878027" y="1349503"/>
                  </a:lnTo>
                  <a:lnTo>
                    <a:pt x="858832" y="1340678"/>
                  </a:lnTo>
                  <a:lnTo>
                    <a:pt x="779587" y="1316665"/>
                  </a:lnTo>
                  <a:lnTo>
                    <a:pt x="734497" y="1285637"/>
                  </a:lnTo>
                  <a:lnTo>
                    <a:pt x="705782" y="1272854"/>
                  </a:lnTo>
                  <a:lnTo>
                    <a:pt x="666619" y="1272648"/>
                  </a:lnTo>
                  <a:lnTo>
                    <a:pt x="634165" y="1278914"/>
                  </a:lnTo>
                  <a:lnTo>
                    <a:pt x="513657" y="1338476"/>
                  </a:lnTo>
                  <a:lnTo>
                    <a:pt x="496755" y="1351565"/>
                  </a:lnTo>
                  <a:lnTo>
                    <a:pt x="487223" y="1362702"/>
                  </a:lnTo>
                  <a:lnTo>
                    <a:pt x="482648" y="1370594"/>
                  </a:lnTo>
                  <a:lnTo>
                    <a:pt x="477761" y="1382317"/>
                  </a:lnTo>
                  <a:lnTo>
                    <a:pt x="461263" y="1411362"/>
                  </a:lnTo>
                  <a:lnTo>
                    <a:pt x="419965" y="1431824"/>
                  </a:lnTo>
                  <a:lnTo>
                    <a:pt x="351974" y="1485644"/>
                  </a:lnTo>
                  <a:lnTo>
                    <a:pt x="332331" y="1491828"/>
                  </a:lnTo>
                  <a:lnTo>
                    <a:pt x="312030" y="1494277"/>
                  </a:lnTo>
                  <a:lnTo>
                    <a:pt x="301843" y="1489765"/>
                  </a:lnTo>
                  <a:lnTo>
                    <a:pt x="286280" y="1478810"/>
                  </a:lnTo>
                  <a:lnTo>
                    <a:pt x="243325" y="1443481"/>
                  </a:lnTo>
                  <a:lnTo>
                    <a:pt x="285489" y="1388523"/>
                  </a:lnTo>
                  <a:lnTo>
                    <a:pt x="332752" y="1299602"/>
                  </a:lnTo>
                  <a:lnTo>
                    <a:pt x="345077" y="1268384"/>
                  </a:lnTo>
                  <a:lnTo>
                    <a:pt x="350673" y="1250027"/>
                  </a:lnTo>
                  <a:lnTo>
                    <a:pt x="348214" y="1217440"/>
                  </a:lnTo>
                  <a:lnTo>
                    <a:pt x="349959" y="1196963"/>
                  </a:lnTo>
                  <a:lnTo>
                    <a:pt x="359121" y="1182321"/>
                  </a:lnTo>
                  <a:lnTo>
                    <a:pt x="391480" y="1150404"/>
                  </a:lnTo>
                  <a:lnTo>
                    <a:pt x="412763" y="1123016"/>
                  </a:lnTo>
                  <a:lnTo>
                    <a:pt x="415034" y="1106274"/>
                  </a:lnTo>
                  <a:lnTo>
                    <a:pt x="406471" y="1092390"/>
                  </a:lnTo>
                  <a:lnTo>
                    <a:pt x="373224" y="1069067"/>
                  </a:lnTo>
                  <a:lnTo>
                    <a:pt x="336352" y="1022401"/>
                  </a:lnTo>
                  <a:lnTo>
                    <a:pt x="327517" y="1007418"/>
                  </a:lnTo>
                  <a:lnTo>
                    <a:pt x="322095" y="990228"/>
                  </a:lnTo>
                  <a:lnTo>
                    <a:pt x="319093" y="976552"/>
                  </a:lnTo>
                  <a:lnTo>
                    <a:pt x="313346" y="961417"/>
                  </a:lnTo>
                  <a:lnTo>
                    <a:pt x="288807" y="923594"/>
                  </a:lnTo>
                  <a:lnTo>
                    <a:pt x="270567" y="887115"/>
                  </a:lnTo>
                  <a:lnTo>
                    <a:pt x="255978" y="877619"/>
                  </a:lnTo>
                  <a:lnTo>
                    <a:pt x="239255" y="883014"/>
                  </a:lnTo>
                  <a:lnTo>
                    <a:pt x="222903" y="893944"/>
                  </a:lnTo>
                  <a:lnTo>
                    <a:pt x="191916" y="897560"/>
                  </a:lnTo>
                  <a:lnTo>
                    <a:pt x="173659" y="905469"/>
                  </a:lnTo>
                  <a:lnTo>
                    <a:pt x="158271" y="917894"/>
                  </a:lnTo>
                  <a:lnTo>
                    <a:pt x="143073" y="923177"/>
                  </a:lnTo>
                  <a:lnTo>
                    <a:pt x="126633" y="918798"/>
                  </a:lnTo>
                  <a:lnTo>
                    <a:pt x="107763" y="905263"/>
                  </a:lnTo>
                  <a:lnTo>
                    <a:pt x="72868" y="872800"/>
                  </a:lnTo>
                  <a:lnTo>
                    <a:pt x="43770" y="812910"/>
                  </a:lnTo>
                  <a:lnTo>
                    <a:pt x="10749" y="703528"/>
                  </a:lnTo>
                  <a:lnTo>
                    <a:pt x="0" y="645747"/>
                  </a:lnTo>
                  <a:lnTo>
                    <a:pt x="1497" y="633219"/>
                  </a:lnTo>
                  <a:lnTo>
                    <a:pt x="9246" y="603197"/>
                  </a:lnTo>
                  <a:lnTo>
                    <a:pt x="18030" y="579052"/>
                  </a:lnTo>
                  <a:lnTo>
                    <a:pt x="119933" y="598498"/>
                  </a:lnTo>
                  <a:lnTo>
                    <a:pt x="130131" y="593031"/>
                  </a:lnTo>
                  <a:lnTo>
                    <a:pt x="143577" y="589737"/>
                  </a:lnTo>
                  <a:lnTo>
                    <a:pt x="147125" y="583418"/>
                  </a:lnTo>
                  <a:lnTo>
                    <a:pt x="174491" y="559502"/>
                  </a:lnTo>
                  <a:lnTo>
                    <a:pt x="179063" y="554312"/>
                  </a:lnTo>
                  <a:lnTo>
                    <a:pt x="182603" y="547024"/>
                  </a:lnTo>
                  <a:lnTo>
                    <a:pt x="186600" y="529696"/>
                  </a:lnTo>
                  <a:lnTo>
                    <a:pt x="185977" y="507976"/>
                  </a:lnTo>
                  <a:lnTo>
                    <a:pt x="180736" y="481404"/>
                  </a:lnTo>
                  <a:lnTo>
                    <a:pt x="170417" y="459528"/>
                  </a:lnTo>
                  <a:lnTo>
                    <a:pt x="161846" y="446208"/>
                  </a:lnTo>
                  <a:lnTo>
                    <a:pt x="147768" y="430644"/>
                  </a:lnTo>
                  <a:lnTo>
                    <a:pt x="135620" y="414479"/>
                  </a:lnTo>
                  <a:lnTo>
                    <a:pt x="126704" y="397882"/>
                  </a:lnTo>
                  <a:lnTo>
                    <a:pt x="122890" y="380971"/>
                  </a:lnTo>
                  <a:lnTo>
                    <a:pt x="122140" y="365045"/>
                  </a:lnTo>
                  <a:lnTo>
                    <a:pt x="123867" y="333190"/>
                  </a:lnTo>
                  <a:lnTo>
                    <a:pt x="126495" y="312931"/>
                  </a:lnTo>
                  <a:lnTo>
                    <a:pt x="132503" y="289878"/>
                  </a:lnTo>
                  <a:lnTo>
                    <a:pt x="146169" y="271621"/>
                  </a:lnTo>
                  <a:lnTo>
                    <a:pt x="164483" y="256279"/>
                  </a:lnTo>
                  <a:lnTo>
                    <a:pt x="280986" y="197141"/>
                  </a:lnTo>
                  <a:lnTo>
                    <a:pt x="293012" y="194626"/>
                  </a:lnTo>
                  <a:lnTo>
                    <a:pt x="302859" y="196243"/>
                  </a:lnTo>
                  <a:lnTo>
                    <a:pt x="329594" y="211863"/>
                  </a:lnTo>
                  <a:lnTo>
                    <a:pt x="344451" y="218019"/>
                  </a:lnTo>
                  <a:lnTo>
                    <a:pt x="377405" y="223872"/>
                  </a:lnTo>
                  <a:lnTo>
                    <a:pt x="406218" y="234744"/>
                  </a:lnTo>
                  <a:lnTo>
                    <a:pt x="422875" y="238397"/>
                  </a:lnTo>
                  <a:lnTo>
                    <a:pt x="471062" y="231355"/>
                  </a:lnTo>
                  <a:lnTo>
                    <a:pt x="521196" y="289738"/>
                  </a:lnTo>
                  <a:lnTo>
                    <a:pt x="533706" y="320547"/>
                  </a:lnTo>
                  <a:lnTo>
                    <a:pt x="535521" y="333098"/>
                  </a:lnTo>
                  <a:lnTo>
                    <a:pt x="541104" y="348716"/>
                  </a:lnTo>
                  <a:lnTo>
                    <a:pt x="547894" y="348150"/>
                  </a:lnTo>
                  <a:lnTo>
                    <a:pt x="569827" y="332053"/>
                  </a:lnTo>
                  <a:lnTo>
                    <a:pt x="623070" y="317109"/>
                  </a:lnTo>
                  <a:lnTo>
                    <a:pt x="663678" y="297480"/>
                  </a:lnTo>
                  <a:lnTo>
                    <a:pt x="678579" y="293534"/>
                  </a:lnTo>
                  <a:lnTo>
                    <a:pt x="688790" y="295692"/>
                  </a:lnTo>
                  <a:lnTo>
                    <a:pt x="750990" y="338174"/>
                  </a:lnTo>
                  <a:lnTo>
                    <a:pt x="774958" y="348558"/>
                  </a:lnTo>
                  <a:lnTo>
                    <a:pt x="797296" y="354885"/>
                  </a:lnTo>
                  <a:lnTo>
                    <a:pt x="829464" y="354437"/>
                  </a:lnTo>
                  <a:lnTo>
                    <a:pt x="856199" y="345773"/>
                  </a:lnTo>
                  <a:lnTo>
                    <a:pt x="904840" y="307553"/>
                  </a:lnTo>
                  <a:lnTo>
                    <a:pt x="932122" y="290873"/>
                  </a:lnTo>
                  <a:lnTo>
                    <a:pt x="966498" y="280304"/>
                  </a:lnTo>
                  <a:lnTo>
                    <a:pt x="985195" y="270033"/>
                  </a:lnTo>
                  <a:lnTo>
                    <a:pt x="997075" y="258220"/>
                  </a:lnTo>
                  <a:lnTo>
                    <a:pt x="1000979" y="246772"/>
                  </a:lnTo>
                  <a:lnTo>
                    <a:pt x="1012611" y="230128"/>
                  </a:lnTo>
                  <a:lnTo>
                    <a:pt x="1169156" y="164444"/>
                  </a:lnTo>
                  <a:lnTo>
                    <a:pt x="1237893" y="106946"/>
                  </a:lnTo>
                  <a:lnTo>
                    <a:pt x="1276448" y="136770"/>
                  </a:lnTo>
                  <a:lnTo>
                    <a:pt x="1390258" y="134048"/>
                  </a:lnTo>
                  <a:lnTo>
                    <a:pt x="1396426" y="137371"/>
                  </a:lnTo>
                  <a:lnTo>
                    <a:pt x="1406810" y="148181"/>
                  </a:lnTo>
                  <a:lnTo>
                    <a:pt x="1440409" y="175002"/>
                  </a:lnTo>
                  <a:lnTo>
                    <a:pt x="1463247" y="177651"/>
                  </a:lnTo>
                  <a:lnTo>
                    <a:pt x="1490916" y="170447"/>
                  </a:lnTo>
                  <a:lnTo>
                    <a:pt x="1517583" y="153420"/>
                  </a:lnTo>
                  <a:lnTo>
                    <a:pt x="1561075" y="133500"/>
                  </a:lnTo>
                  <a:lnTo>
                    <a:pt x="1583032" y="127101"/>
                  </a:lnTo>
                  <a:lnTo>
                    <a:pt x="1599452" y="125986"/>
                  </a:lnTo>
                  <a:lnTo>
                    <a:pt x="1617827" y="128988"/>
                  </a:lnTo>
                  <a:lnTo>
                    <a:pt x="1628387" y="128667"/>
                  </a:lnTo>
                  <a:lnTo>
                    <a:pt x="1661880" y="117914"/>
                  </a:lnTo>
                  <a:lnTo>
                    <a:pt x="1717004" y="95005"/>
                  </a:lnTo>
                  <a:lnTo>
                    <a:pt x="1758841" y="84607"/>
                  </a:lnTo>
                  <a:lnTo>
                    <a:pt x="1770355" y="77147"/>
                  </a:lnTo>
                  <a:lnTo>
                    <a:pt x="1780725" y="64456"/>
                  </a:lnTo>
                  <a:lnTo>
                    <a:pt x="1786357" y="52128"/>
                  </a:lnTo>
                  <a:lnTo>
                    <a:pt x="1815433" y="12837"/>
                  </a:lnTo>
                  <a:lnTo>
                    <a:pt x="1860786" y="18652"/>
                  </a:lnTo>
                  <a:lnTo>
                    <a:pt x="1868112" y="18214"/>
                  </a:lnTo>
                  <a:lnTo>
                    <a:pt x="1934583" y="0"/>
                  </a:lnTo>
                  <a:lnTo>
                    <a:pt x="1956631" y="1486"/>
                  </a:lnTo>
                  <a:lnTo>
                    <a:pt x="1974417" y="8292"/>
                  </a:lnTo>
                  <a:lnTo>
                    <a:pt x="2021472" y="49579"/>
                  </a:lnTo>
                  <a:lnTo>
                    <a:pt x="2112878" y="91288"/>
                  </a:lnTo>
                  <a:lnTo>
                    <a:pt x="2155924" y="120763"/>
                  </a:lnTo>
                  <a:lnTo>
                    <a:pt x="2229866" y="125012"/>
                  </a:lnTo>
                  <a:lnTo>
                    <a:pt x="2253001" y="148460"/>
                  </a:lnTo>
                  <a:lnTo>
                    <a:pt x="2266593" y="166304"/>
                  </a:lnTo>
                  <a:lnTo>
                    <a:pt x="2282337" y="176428"/>
                  </a:lnTo>
                  <a:lnTo>
                    <a:pt x="2303577" y="186800"/>
                  </a:lnTo>
                  <a:close/>
                </a:path>
              </a:pathLst>
            </a:custGeom>
            <a:solidFill>
              <a:srgbClr val="DDDDDD"/>
            </a:solidFill>
            <a:ln w="3175" cap="rnd">
              <a:solidFill>
                <a:srgbClr val="C0C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IE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" name="Freeform 5">
              <a:extLst>
                <a:ext uri="{FF2B5EF4-FFF2-40B4-BE49-F238E27FC236}">
                  <a16:creationId xmlns:a16="http://schemas.microsoft.com/office/drawing/2014/main" id="{3BCF70E1-94B7-084E-AD2B-A3CF3E67CF82}"/>
                </a:ext>
              </a:extLst>
            </p:cNvPr>
            <p:cNvSpPr>
              <a:spLocks noChangeAspect="1"/>
            </p:cNvSpPr>
            <p:nvPr>
              <p:custDataLst>
                <p:tags r:id="rId4"/>
              </p:custDataLst>
            </p:nvPr>
          </p:nvSpPr>
          <p:spPr>
            <a:xfrm>
              <a:off x="3826018" y="4851632"/>
              <a:ext cx="2752381" cy="1225000"/>
            </a:xfrm>
            <a:custGeom>
              <a:avLst/>
              <a:gdLst/>
              <a:ahLst/>
              <a:cxnLst/>
              <a:rect l="0" t="0" r="0" b="0"/>
              <a:pathLst>
                <a:path w="2752381" h="1225000">
                  <a:moveTo>
                    <a:pt x="470581" y="177777"/>
                  </a:moveTo>
                  <a:lnTo>
                    <a:pt x="553819" y="173280"/>
                  </a:lnTo>
                  <a:lnTo>
                    <a:pt x="597025" y="163971"/>
                  </a:lnTo>
                  <a:lnTo>
                    <a:pt x="655365" y="135755"/>
                  </a:lnTo>
                  <a:lnTo>
                    <a:pt x="680977" y="115702"/>
                  </a:lnTo>
                  <a:lnTo>
                    <a:pt x="708701" y="88758"/>
                  </a:lnTo>
                  <a:lnTo>
                    <a:pt x="725698" y="84564"/>
                  </a:lnTo>
                  <a:lnTo>
                    <a:pt x="746297" y="83314"/>
                  </a:lnTo>
                  <a:lnTo>
                    <a:pt x="789784" y="96592"/>
                  </a:lnTo>
                  <a:lnTo>
                    <a:pt x="891909" y="123492"/>
                  </a:lnTo>
                  <a:lnTo>
                    <a:pt x="915953" y="125137"/>
                  </a:lnTo>
                  <a:lnTo>
                    <a:pt x="1027249" y="148914"/>
                  </a:lnTo>
                  <a:lnTo>
                    <a:pt x="1076448" y="152708"/>
                  </a:lnTo>
                  <a:lnTo>
                    <a:pt x="1104827" y="161511"/>
                  </a:lnTo>
                  <a:lnTo>
                    <a:pt x="1144143" y="181853"/>
                  </a:lnTo>
                  <a:lnTo>
                    <a:pt x="1239798" y="255424"/>
                  </a:lnTo>
                  <a:lnTo>
                    <a:pt x="1272434" y="298180"/>
                  </a:lnTo>
                  <a:lnTo>
                    <a:pt x="1315389" y="333509"/>
                  </a:lnTo>
                  <a:lnTo>
                    <a:pt x="1330952" y="344464"/>
                  </a:lnTo>
                  <a:lnTo>
                    <a:pt x="1341139" y="348976"/>
                  </a:lnTo>
                  <a:lnTo>
                    <a:pt x="1361440" y="346527"/>
                  </a:lnTo>
                  <a:lnTo>
                    <a:pt x="1381083" y="340343"/>
                  </a:lnTo>
                  <a:lnTo>
                    <a:pt x="1449074" y="286523"/>
                  </a:lnTo>
                  <a:lnTo>
                    <a:pt x="1490372" y="266061"/>
                  </a:lnTo>
                  <a:lnTo>
                    <a:pt x="1506870" y="237016"/>
                  </a:lnTo>
                  <a:lnTo>
                    <a:pt x="1511757" y="225293"/>
                  </a:lnTo>
                  <a:lnTo>
                    <a:pt x="1516332" y="217401"/>
                  </a:lnTo>
                  <a:lnTo>
                    <a:pt x="1525864" y="206264"/>
                  </a:lnTo>
                  <a:lnTo>
                    <a:pt x="1542766" y="193175"/>
                  </a:lnTo>
                  <a:lnTo>
                    <a:pt x="1663274" y="133613"/>
                  </a:lnTo>
                  <a:lnTo>
                    <a:pt x="1695728" y="127347"/>
                  </a:lnTo>
                  <a:lnTo>
                    <a:pt x="1734891" y="127553"/>
                  </a:lnTo>
                  <a:lnTo>
                    <a:pt x="1763606" y="140336"/>
                  </a:lnTo>
                  <a:lnTo>
                    <a:pt x="1808696" y="171364"/>
                  </a:lnTo>
                  <a:lnTo>
                    <a:pt x="1887941" y="195377"/>
                  </a:lnTo>
                  <a:lnTo>
                    <a:pt x="1907136" y="204202"/>
                  </a:lnTo>
                  <a:lnTo>
                    <a:pt x="1918602" y="213208"/>
                  </a:lnTo>
                  <a:lnTo>
                    <a:pt x="1921411" y="217624"/>
                  </a:lnTo>
                  <a:lnTo>
                    <a:pt x="1931122" y="219517"/>
                  </a:lnTo>
                  <a:lnTo>
                    <a:pt x="1951075" y="220085"/>
                  </a:lnTo>
                  <a:lnTo>
                    <a:pt x="2063539" y="178140"/>
                  </a:lnTo>
                  <a:lnTo>
                    <a:pt x="2093648" y="180203"/>
                  </a:lnTo>
                  <a:lnTo>
                    <a:pt x="2165971" y="174276"/>
                  </a:lnTo>
                  <a:lnTo>
                    <a:pt x="2196127" y="186092"/>
                  </a:lnTo>
                  <a:lnTo>
                    <a:pt x="2332325" y="173110"/>
                  </a:lnTo>
                  <a:lnTo>
                    <a:pt x="2454550" y="141566"/>
                  </a:lnTo>
                  <a:lnTo>
                    <a:pt x="2471610" y="144085"/>
                  </a:lnTo>
                  <a:lnTo>
                    <a:pt x="2483090" y="151173"/>
                  </a:lnTo>
                  <a:lnTo>
                    <a:pt x="2499734" y="164287"/>
                  </a:lnTo>
                  <a:lnTo>
                    <a:pt x="2544473" y="217340"/>
                  </a:lnTo>
                  <a:lnTo>
                    <a:pt x="2634611" y="349420"/>
                  </a:lnTo>
                  <a:lnTo>
                    <a:pt x="2633414" y="398158"/>
                  </a:lnTo>
                  <a:lnTo>
                    <a:pt x="2627295" y="418337"/>
                  </a:lnTo>
                  <a:lnTo>
                    <a:pt x="2620308" y="433024"/>
                  </a:lnTo>
                  <a:lnTo>
                    <a:pt x="2614692" y="452812"/>
                  </a:lnTo>
                  <a:lnTo>
                    <a:pt x="2613166" y="462176"/>
                  </a:lnTo>
                  <a:lnTo>
                    <a:pt x="2615538" y="476539"/>
                  </a:lnTo>
                  <a:lnTo>
                    <a:pt x="2621569" y="497972"/>
                  </a:lnTo>
                  <a:lnTo>
                    <a:pt x="2638970" y="537103"/>
                  </a:lnTo>
                  <a:lnTo>
                    <a:pt x="2653144" y="594122"/>
                  </a:lnTo>
                  <a:lnTo>
                    <a:pt x="2656904" y="648337"/>
                  </a:lnTo>
                  <a:lnTo>
                    <a:pt x="2671220" y="686853"/>
                  </a:lnTo>
                  <a:lnTo>
                    <a:pt x="2742559" y="765455"/>
                  </a:lnTo>
                  <a:lnTo>
                    <a:pt x="2751880" y="777094"/>
                  </a:lnTo>
                  <a:lnTo>
                    <a:pt x="2752380" y="777716"/>
                  </a:lnTo>
                  <a:lnTo>
                    <a:pt x="2730152" y="775824"/>
                  </a:lnTo>
                  <a:lnTo>
                    <a:pt x="2703563" y="773558"/>
                  </a:lnTo>
                  <a:lnTo>
                    <a:pt x="2639759" y="795625"/>
                  </a:lnTo>
                  <a:lnTo>
                    <a:pt x="2599464" y="855987"/>
                  </a:lnTo>
                  <a:lnTo>
                    <a:pt x="2577355" y="825520"/>
                  </a:lnTo>
                  <a:lnTo>
                    <a:pt x="2561251" y="822825"/>
                  </a:lnTo>
                  <a:lnTo>
                    <a:pt x="2545728" y="833094"/>
                  </a:lnTo>
                  <a:lnTo>
                    <a:pt x="2521711" y="848973"/>
                  </a:lnTo>
                  <a:lnTo>
                    <a:pt x="2517630" y="849601"/>
                  </a:lnTo>
                  <a:lnTo>
                    <a:pt x="2498684" y="852541"/>
                  </a:lnTo>
                  <a:lnTo>
                    <a:pt x="2482945" y="850916"/>
                  </a:lnTo>
                  <a:lnTo>
                    <a:pt x="2468978" y="857201"/>
                  </a:lnTo>
                  <a:lnTo>
                    <a:pt x="2450795" y="884783"/>
                  </a:lnTo>
                  <a:lnTo>
                    <a:pt x="2438610" y="912415"/>
                  </a:lnTo>
                  <a:lnTo>
                    <a:pt x="2430434" y="938932"/>
                  </a:lnTo>
                  <a:lnTo>
                    <a:pt x="2422705" y="963988"/>
                  </a:lnTo>
                  <a:lnTo>
                    <a:pt x="2411435" y="991232"/>
                  </a:lnTo>
                  <a:lnTo>
                    <a:pt x="2402783" y="1012140"/>
                  </a:lnTo>
                  <a:lnTo>
                    <a:pt x="2396638" y="1017758"/>
                  </a:lnTo>
                  <a:lnTo>
                    <a:pt x="2372093" y="1029558"/>
                  </a:lnTo>
                  <a:lnTo>
                    <a:pt x="2343490" y="1034867"/>
                  </a:lnTo>
                  <a:lnTo>
                    <a:pt x="2333415" y="1027944"/>
                  </a:lnTo>
                  <a:lnTo>
                    <a:pt x="2314940" y="1036723"/>
                  </a:lnTo>
                  <a:lnTo>
                    <a:pt x="2308364" y="1044569"/>
                  </a:lnTo>
                  <a:lnTo>
                    <a:pt x="2303002" y="1055718"/>
                  </a:lnTo>
                  <a:lnTo>
                    <a:pt x="2290199" y="1071780"/>
                  </a:lnTo>
                  <a:lnTo>
                    <a:pt x="2282557" y="1092000"/>
                  </a:lnTo>
                  <a:lnTo>
                    <a:pt x="2274226" y="1090649"/>
                  </a:lnTo>
                  <a:lnTo>
                    <a:pt x="2267579" y="1089565"/>
                  </a:lnTo>
                  <a:lnTo>
                    <a:pt x="2262508" y="1090998"/>
                  </a:lnTo>
                  <a:lnTo>
                    <a:pt x="2240442" y="1114903"/>
                  </a:lnTo>
                  <a:lnTo>
                    <a:pt x="2228988" y="1122656"/>
                  </a:lnTo>
                  <a:lnTo>
                    <a:pt x="2217694" y="1126207"/>
                  </a:lnTo>
                  <a:lnTo>
                    <a:pt x="2193410" y="1128788"/>
                  </a:lnTo>
                  <a:lnTo>
                    <a:pt x="2182595" y="1133417"/>
                  </a:lnTo>
                  <a:lnTo>
                    <a:pt x="2166410" y="1157586"/>
                  </a:lnTo>
                  <a:lnTo>
                    <a:pt x="2157520" y="1189204"/>
                  </a:lnTo>
                  <a:lnTo>
                    <a:pt x="2152257" y="1203332"/>
                  </a:lnTo>
                  <a:lnTo>
                    <a:pt x="2147506" y="1216081"/>
                  </a:lnTo>
                  <a:lnTo>
                    <a:pt x="2128162" y="1224999"/>
                  </a:lnTo>
                  <a:lnTo>
                    <a:pt x="2113086" y="1209642"/>
                  </a:lnTo>
                  <a:lnTo>
                    <a:pt x="2100033" y="1181981"/>
                  </a:lnTo>
                  <a:lnTo>
                    <a:pt x="2084424" y="1161081"/>
                  </a:lnTo>
                  <a:lnTo>
                    <a:pt x="2045862" y="1170900"/>
                  </a:lnTo>
                  <a:lnTo>
                    <a:pt x="2027051" y="1168225"/>
                  </a:lnTo>
                  <a:lnTo>
                    <a:pt x="2011494" y="1161288"/>
                  </a:lnTo>
                  <a:lnTo>
                    <a:pt x="1992186" y="1152669"/>
                  </a:lnTo>
                  <a:lnTo>
                    <a:pt x="1985827" y="1145196"/>
                  </a:lnTo>
                  <a:lnTo>
                    <a:pt x="1982112" y="1136085"/>
                  </a:lnTo>
                  <a:lnTo>
                    <a:pt x="1976679" y="1128511"/>
                  </a:lnTo>
                  <a:lnTo>
                    <a:pt x="1964715" y="1125989"/>
                  </a:lnTo>
                  <a:lnTo>
                    <a:pt x="1927070" y="1134813"/>
                  </a:lnTo>
                  <a:lnTo>
                    <a:pt x="1792744" y="1132642"/>
                  </a:lnTo>
                  <a:lnTo>
                    <a:pt x="1689105" y="1130823"/>
                  </a:lnTo>
                  <a:lnTo>
                    <a:pt x="1686935" y="1130251"/>
                  </a:lnTo>
                  <a:lnTo>
                    <a:pt x="1674937" y="1127106"/>
                  </a:lnTo>
                  <a:lnTo>
                    <a:pt x="1611420" y="1073244"/>
                  </a:lnTo>
                  <a:lnTo>
                    <a:pt x="1594908" y="1065119"/>
                  </a:lnTo>
                  <a:lnTo>
                    <a:pt x="1576574" y="1059831"/>
                  </a:lnTo>
                  <a:lnTo>
                    <a:pt x="1556896" y="1059501"/>
                  </a:lnTo>
                  <a:lnTo>
                    <a:pt x="1537295" y="1063216"/>
                  </a:lnTo>
                  <a:lnTo>
                    <a:pt x="1519230" y="1066641"/>
                  </a:lnTo>
                  <a:lnTo>
                    <a:pt x="1500810" y="1064526"/>
                  </a:lnTo>
                  <a:lnTo>
                    <a:pt x="1398048" y="1016752"/>
                  </a:lnTo>
                  <a:lnTo>
                    <a:pt x="1364236" y="1011354"/>
                  </a:lnTo>
                  <a:lnTo>
                    <a:pt x="1291673" y="1023792"/>
                  </a:lnTo>
                  <a:lnTo>
                    <a:pt x="1276406" y="1024049"/>
                  </a:lnTo>
                  <a:lnTo>
                    <a:pt x="1202402" y="1006417"/>
                  </a:lnTo>
                  <a:lnTo>
                    <a:pt x="1185453" y="1005072"/>
                  </a:lnTo>
                  <a:lnTo>
                    <a:pt x="1168005" y="1008595"/>
                  </a:lnTo>
                  <a:lnTo>
                    <a:pt x="1151113" y="1006908"/>
                  </a:lnTo>
                  <a:lnTo>
                    <a:pt x="1015564" y="963272"/>
                  </a:lnTo>
                  <a:lnTo>
                    <a:pt x="968050" y="961622"/>
                  </a:lnTo>
                  <a:lnTo>
                    <a:pt x="959485" y="955637"/>
                  </a:lnTo>
                  <a:lnTo>
                    <a:pt x="943615" y="937600"/>
                  </a:lnTo>
                  <a:lnTo>
                    <a:pt x="935867" y="934631"/>
                  </a:lnTo>
                  <a:lnTo>
                    <a:pt x="867694" y="939729"/>
                  </a:lnTo>
                  <a:lnTo>
                    <a:pt x="818806" y="931158"/>
                  </a:lnTo>
                  <a:lnTo>
                    <a:pt x="704852" y="955548"/>
                  </a:lnTo>
                  <a:lnTo>
                    <a:pt x="659778" y="953229"/>
                  </a:lnTo>
                  <a:lnTo>
                    <a:pt x="636214" y="943704"/>
                  </a:lnTo>
                  <a:lnTo>
                    <a:pt x="565245" y="899739"/>
                  </a:lnTo>
                  <a:lnTo>
                    <a:pt x="473718" y="878212"/>
                  </a:lnTo>
                  <a:lnTo>
                    <a:pt x="212275" y="858042"/>
                  </a:lnTo>
                  <a:lnTo>
                    <a:pt x="149072" y="816061"/>
                  </a:lnTo>
                  <a:lnTo>
                    <a:pt x="121154" y="806414"/>
                  </a:lnTo>
                  <a:lnTo>
                    <a:pt x="121153" y="806414"/>
                  </a:lnTo>
                  <a:lnTo>
                    <a:pt x="111547" y="803091"/>
                  </a:lnTo>
                  <a:lnTo>
                    <a:pt x="102770" y="804202"/>
                  </a:lnTo>
                  <a:lnTo>
                    <a:pt x="84830" y="811077"/>
                  </a:lnTo>
                  <a:lnTo>
                    <a:pt x="74326" y="811327"/>
                  </a:lnTo>
                  <a:lnTo>
                    <a:pt x="64093" y="806704"/>
                  </a:lnTo>
                  <a:lnTo>
                    <a:pt x="43914" y="791121"/>
                  </a:lnTo>
                  <a:lnTo>
                    <a:pt x="35199" y="787071"/>
                  </a:lnTo>
                  <a:lnTo>
                    <a:pt x="35357" y="786676"/>
                  </a:lnTo>
                  <a:lnTo>
                    <a:pt x="40365" y="774200"/>
                  </a:lnTo>
                  <a:lnTo>
                    <a:pt x="78029" y="701743"/>
                  </a:lnTo>
                  <a:lnTo>
                    <a:pt x="86512" y="678363"/>
                  </a:lnTo>
                  <a:lnTo>
                    <a:pt x="91675" y="658994"/>
                  </a:lnTo>
                  <a:lnTo>
                    <a:pt x="95524" y="630831"/>
                  </a:lnTo>
                  <a:lnTo>
                    <a:pt x="119278" y="619123"/>
                  </a:lnTo>
                  <a:lnTo>
                    <a:pt x="218797" y="604865"/>
                  </a:lnTo>
                  <a:lnTo>
                    <a:pt x="263868" y="585392"/>
                  </a:lnTo>
                  <a:lnTo>
                    <a:pt x="276826" y="583787"/>
                  </a:lnTo>
                  <a:lnTo>
                    <a:pt x="288541" y="588227"/>
                  </a:lnTo>
                  <a:lnTo>
                    <a:pt x="328155" y="618271"/>
                  </a:lnTo>
                  <a:lnTo>
                    <a:pt x="337128" y="619911"/>
                  </a:lnTo>
                  <a:lnTo>
                    <a:pt x="341105" y="619007"/>
                  </a:lnTo>
                  <a:lnTo>
                    <a:pt x="344576" y="615581"/>
                  </a:lnTo>
                  <a:lnTo>
                    <a:pt x="346670" y="611305"/>
                  </a:lnTo>
                  <a:lnTo>
                    <a:pt x="347723" y="607862"/>
                  </a:lnTo>
                  <a:lnTo>
                    <a:pt x="348440" y="602320"/>
                  </a:lnTo>
                  <a:lnTo>
                    <a:pt x="341942" y="589603"/>
                  </a:lnTo>
                  <a:lnTo>
                    <a:pt x="275603" y="496057"/>
                  </a:lnTo>
                  <a:lnTo>
                    <a:pt x="224841" y="441043"/>
                  </a:lnTo>
                  <a:lnTo>
                    <a:pt x="213225" y="424959"/>
                  </a:lnTo>
                  <a:lnTo>
                    <a:pt x="205811" y="399111"/>
                  </a:lnTo>
                  <a:lnTo>
                    <a:pt x="203371" y="377372"/>
                  </a:lnTo>
                  <a:lnTo>
                    <a:pt x="198180" y="355031"/>
                  </a:lnTo>
                  <a:lnTo>
                    <a:pt x="189513" y="337957"/>
                  </a:lnTo>
                  <a:lnTo>
                    <a:pt x="175788" y="322653"/>
                  </a:lnTo>
                  <a:lnTo>
                    <a:pt x="164486" y="314293"/>
                  </a:lnTo>
                  <a:lnTo>
                    <a:pt x="142265" y="293166"/>
                  </a:lnTo>
                  <a:lnTo>
                    <a:pt x="132939" y="274698"/>
                  </a:lnTo>
                  <a:lnTo>
                    <a:pt x="122152" y="260244"/>
                  </a:lnTo>
                  <a:lnTo>
                    <a:pt x="114691" y="246156"/>
                  </a:lnTo>
                  <a:lnTo>
                    <a:pt x="111201" y="230373"/>
                  </a:lnTo>
                  <a:lnTo>
                    <a:pt x="110400" y="222675"/>
                  </a:lnTo>
                  <a:lnTo>
                    <a:pt x="110625" y="215704"/>
                  </a:lnTo>
                  <a:lnTo>
                    <a:pt x="112262" y="204123"/>
                  </a:lnTo>
                  <a:lnTo>
                    <a:pt x="115276" y="192043"/>
                  </a:lnTo>
                  <a:lnTo>
                    <a:pt x="129336" y="158113"/>
                  </a:lnTo>
                  <a:lnTo>
                    <a:pt x="130837" y="141153"/>
                  </a:lnTo>
                  <a:lnTo>
                    <a:pt x="121602" y="128267"/>
                  </a:lnTo>
                  <a:lnTo>
                    <a:pt x="26336" y="95599"/>
                  </a:lnTo>
                  <a:lnTo>
                    <a:pt x="11849" y="83580"/>
                  </a:lnTo>
                  <a:lnTo>
                    <a:pt x="2981" y="70685"/>
                  </a:lnTo>
                  <a:lnTo>
                    <a:pt x="0" y="39443"/>
                  </a:lnTo>
                  <a:lnTo>
                    <a:pt x="14548" y="30454"/>
                  </a:lnTo>
                  <a:lnTo>
                    <a:pt x="18529" y="26538"/>
                  </a:lnTo>
                  <a:lnTo>
                    <a:pt x="22351" y="21026"/>
                  </a:lnTo>
                  <a:lnTo>
                    <a:pt x="23762" y="16584"/>
                  </a:lnTo>
                  <a:lnTo>
                    <a:pt x="24667" y="11133"/>
                  </a:lnTo>
                  <a:lnTo>
                    <a:pt x="26247" y="6985"/>
                  </a:lnTo>
                  <a:lnTo>
                    <a:pt x="29715" y="2604"/>
                  </a:lnTo>
                  <a:lnTo>
                    <a:pt x="34882" y="0"/>
                  </a:lnTo>
                  <a:lnTo>
                    <a:pt x="44992" y="974"/>
                  </a:lnTo>
                  <a:lnTo>
                    <a:pt x="59174" y="7266"/>
                  </a:lnTo>
                  <a:lnTo>
                    <a:pt x="102742" y="35898"/>
                  </a:lnTo>
                  <a:lnTo>
                    <a:pt x="153227" y="61402"/>
                  </a:lnTo>
                  <a:lnTo>
                    <a:pt x="221131" y="78758"/>
                  </a:lnTo>
                  <a:lnTo>
                    <a:pt x="256695" y="82764"/>
                  </a:lnTo>
                  <a:lnTo>
                    <a:pt x="310156" y="100333"/>
                  </a:lnTo>
                  <a:lnTo>
                    <a:pt x="398266" y="157951"/>
                  </a:lnTo>
                  <a:lnTo>
                    <a:pt x="416606" y="168196"/>
                  </a:lnTo>
                  <a:lnTo>
                    <a:pt x="437373" y="174080"/>
                  </a:lnTo>
                  <a:close/>
                </a:path>
              </a:pathLst>
            </a:custGeom>
            <a:solidFill>
              <a:srgbClr val="DDDDDD"/>
            </a:solidFill>
            <a:ln w="3175" cap="rnd">
              <a:solidFill>
                <a:srgbClr val="C0C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IE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Freeform 6">
              <a:extLst>
                <a:ext uri="{FF2B5EF4-FFF2-40B4-BE49-F238E27FC236}">
                  <a16:creationId xmlns:a16="http://schemas.microsoft.com/office/drawing/2014/main" id="{D48CD0D2-660C-89F6-5653-B67060B8C06D}"/>
                </a:ext>
              </a:extLst>
            </p:cNvPr>
            <p:cNvSpPr>
              <a:spLocks noChangeAspect="1"/>
            </p:cNvSpPr>
            <p:nvPr>
              <p:custDataLst>
                <p:tags r:id="rId5"/>
              </p:custDataLst>
            </p:nvPr>
          </p:nvSpPr>
          <p:spPr>
            <a:xfrm>
              <a:off x="3952545" y="2202783"/>
              <a:ext cx="2422590" cy="2102047"/>
            </a:xfrm>
            <a:custGeom>
              <a:avLst/>
              <a:gdLst/>
              <a:ahLst/>
              <a:cxnLst/>
              <a:rect l="0" t="0" r="0" b="0"/>
              <a:pathLst>
                <a:path w="2422590" h="2102047">
                  <a:moveTo>
                    <a:pt x="1394208" y="181101"/>
                  </a:moveTo>
                  <a:lnTo>
                    <a:pt x="1388982" y="180142"/>
                  </a:lnTo>
                  <a:lnTo>
                    <a:pt x="1385783" y="182522"/>
                  </a:lnTo>
                  <a:lnTo>
                    <a:pt x="1378702" y="197795"/>
                  </a:lnTo>
                  <a:lnTo>
                    <a:pt x="1372614" y="200118"/>
                  </a:lnTo>
                  <a:lnTo>
                    <a:pt x="1370656" y="204843"/>
                  </a:lnTo>
                  <a:lnTo>
                    <a:pt x="1375850" y="226981"/>
                  </a:lnTo>
                  <a:lnTo>
                    <a:pt x="1380595" y="235847"/>
                  </a:lnTo>
                  <a:lnTo>
                    <a:pt x="1399358" y="258873"/>
                  </a:lnTo>
                  <a:lnTo>
                    <a:pt x="1408434" y="266855"/>
                  </a:lnTo>
                  <a:lnTo>
                    <a:pt x="1445146" y="281889"/>
                  </a:lnTo>
                  <a:lnTo>
                    <a:pt x="1597738" y="297431"/>
                  </a:lnTo>
                  <a:lnTo>
                    <a:pt x="1704952" y="333954"/>
                  </a:lnTo>
                  <a:lnTo>
                    <a:pt x="1715280" y="332644"/>
                  </a:lnTo>
                  <a:lnTo>
                    <a:pt x="1723690" y="329173"/>
                  </a:lnTo>
                  <a:lnTo>
                    <a:pt x="1745145" y="311454"/>
                  </a:lnTo>
                  <a:lnTo>
                    <a:pt x="1800739" y="286545"/>
                  </a:lnTo>
                  <a:lnTo>
                    <a:pt x="1817499" y="268786"/>
                  </a:lnTo>
                  <a:lnTo>
                    <a:pt x="1840687" y="204292"/>
                  </a:lnTo>
                  <a:lnTo>
                    <a:pt x="1856187" y="193230"/>
                  </a:lnTo>
                  <a:lnTo>
                    <a:pt x="1882403" y="223267"/>
                  </a:lnTo>
                  <a:lnTo>
                    <a:pt x="1925627" y="245133"/>
                  </a:lnTo>
                  <a:lnTo>
                    <a:pt x="1938341" y="248045"/>
                  </a:lnTo>
                  <a:lnTo>
                    <a:pt x="1954394" y="244183"/>
                  </a:lnTo>
                  <a:lnTo>
                    <a:pt x="1986363" y="228127"/>
                  </a:lnTo>
                  <a:lnTo>
                    <a:pt x="2002892" y="226513"/>
                  </a:lnTo>
                  <a:lnTo>
                    <a:pt x="2009879" y="232491"/>
                  </a:lnTo>
                  <a:lnTo>
                    <a:pt x="2011384" y="242845"/>
                  </a:lnTo>
                  <a:lnTo>
                    <a:pt x="2011674" y="253685"/>
                  </a:lnTo>
                  <a:lnTo>
                    <a:pt x="2015233" y="260475"/>
                  </a:lnTo>
                  <a:lnTo>
                    <a:pt x="2023583" y="261262"/>
                  </a:lnTo>
                  <a:lnTo>
                    <a:pt x="2039932" y="255232"/>
                  </a:lnTo>
                  <a:lnTo>
                    <a:pt x="2046959" y="256665"/>
                  </a:lnTo>
                  <a:lnTo>
                    <a:pt x="2058778" y="271808"/>
                  </a:lnTo>
                  <a:lnTo>
                    <a:pt x="2065376" y="286988"/>
                  </a:lnTo>
                  <a:lnTo>
                    <a:pt x="2074007" y="297474"/>
                  </a:lnTo>
                  <a:lnTo>
                    <a:pt x="2091705" y="298341"/>
                  </a:lnTo>
                  <a:lnTo>
                    <a:pt x="2108103" y="281304"/>
                  </a:lnTo>
                  <a:lnTo>
                    <a:pt x="2110673" y="286123"/>
                  </a:lnTo>
                  <a:lnTo>
                    <a:pt x="2130518" y="304514"/>
                  </a:lnTo>
                  <a:lnTo>
                    <a:pt x="2198464" y="318735"/>
                  </a:lnTo>
                  <a:lnTo>
                    <a:pt x="2233949" y="333111"/>
                  </a:lnTo>
                  <a:lnTo>
                    <a:pt x="2268898" y="350721"/>
                  </a:lnTo>
                  <a:lnTo>
                    <a:pt x="2308051" y="355241"/>
                  </a:lnTo>
                  <a:lnTo>
                    <a:pt x="2326092" y="361226"/>
                  </a:lnTo>
                  <a:lnTo>
                    <a:pt x="2341538" y="373601"/>
                  </a:lnTo>
                  <a:lnTo>
                    <a:pt x="2352421" y="391198"/>
                  </a:lnTo>
                  <a:lnTo>
                    <a:pt x="2354441" y="408138"/>
                  </a:lnTo>
                  <a:lnTo>
                    <a:pt x="2353577" y="414876"/>
                  </a:lnTo>
                  <a:lnTo>
                    <a:pt x="2350293" y="417636"/>
                  </a:lnTo>
                  <a:lnTo>
                    <a:pt x="2325706" y="416286"/>
                  </a:lnTo>
                  <a:lnTo>
                    <a:pt x="2321715" y="417247"/>
                  </a:lnTo>
                  <a:lnTo>
                    <a:pt x="2319717" y="420358"/>
                  </a:lnTo>
                  <a:lnTo>
                    <a:pt x="2318833" y="426171"/>
                  </a:lnTo>
                  <a:lnTo>
                    <a:pt x="2319018" y="440835"/>
                  </a:lnTo>
                  <a:lnTo>
                    <a:pt x="2317320" y="450579"/>
                  </a:lnTo>
                  <a:lnTo>
                    <a:pt x="2317498" y="464945"/>
                  </a:lnTo>
                  <a:lnTo>
                    <a:pt x="2322677" y="481313"/>
                  </a:lnTo>
                  <a:lnTo>
                    <a:pt x="2348116" y="515091"/>
                  </a:lnTo>
                  <a:lnTo>
                    <a:pt x="2374903" y="524250"/>
                  </a:lnTo>
                  <a:lnTo>
                    <a:pt x="2382017" y="576506"/>
                  </a:lnTo>
                  <a:lnTo>
                    <a:pt x="2402486" y="591882"/>
                  </a:lnTo>
                  <a:lnTo>
                    <a:pt x="2408317" y="606303"/>
                  </a:lnTo>
                  <a:lnTo>
                    <a:pt x="2422589" y="686518"/>
                  </a:lnTo>
                  <a:lnTo>
                    <a:pt x="2418194" y="826812"/>
                  </a:lnTo>
                  <a:lnTo>
                    <a:pt x="2418291" y="863040"/>
                  </a:lnTo>
                  <a:lnTo>
                    <a:pt x="2401597" y="843976"/>
                  </a:lnTo>
                  <a:lnTo>
                    <a:pt x="2388113" y="836272"/>
                  </a:lnTo>
                  <a:lnTo>
                    <a:pt x="2376074" y="833326"/>
                  </a:lnTo>
                  <a:lnTo>
                    <a:pt x="2322641" y="837098"/>
                  </a:lnTo>
                  <a:lnTo>
                    <a:pt x="2303118" y="846148"/>
                  </a:lnTo>
                  <a:lnTo>
                    <a:pt x="2287307" y="861920"/>
                  </a:lnTo>
                  <a:lnTo>
                    <a:pt x="2271975" y="885417"/>
                  </a:lnTo>
                  <a:lnTo>
                    <a:pt x="2257210" y="898098"/>
                  </a:lnTo>
                  <a:lnTo>
                    <a:pt x="2102709" y="938531"/>
                  </a:lnTo>
                  <a:lnTo>
                    <a:pt x="2079961" y="932117"/>
                  </a:lnTo>
                  <a:lnTo>
                    <a:pt x="2061246" y="915503"/>
                  </a:lnTo>
                  <a:lnTo>
                    <a:pt x="2030965" y="873101"/>
                  </a:lnTo>
                  <a:lnTo>
                    <a:pt x="2016541" y="857368"/>
                  </a:lnTo>
                  <a:lnTo>
                    <a:pt x="2000187" y="846454"/>
                  </a:lnTo>
                  <a:lnTo>
                    <a:pt x="1981391" y="840117"/>
                  </a:lnTo>
                  <a:lnTo>
                    <a:pt x="1932585" y="839955"/>
                  </a:lnTo>
                  <a:lnTo>
                    <a:pt x="1918169" y="852533"/>
                  </a:lnTo>
                  <a:lnTo>
                    <a:pt x="1911512" y="856456"/>
                  </a:lnTo>
                  <a:lnTo>
                    <a:pt x="1903718" y="863000"/>
                  </a:lnTo>
                  <a:lnTo>
                    <a:pt x="1900749" y="866574"/>
                  </a:lnTo>
                  <a:lnTo>
                    <a:pt x="1898780" y="869712"/>
                  </a:lnTo>
                  <a:lnTo>
                    <a:pt x="1897153" y="873266"/>
                  </a:lnTo>
                  <a:lnTo>
                    <a:pt x="1895234" y="883506"/>
                  </a:lnTo>
                  <a:lnTo>
                    <a:pt x="1889819" y="948597"/>
                  </a:lnTo>
                  <a:lnTo>
                    <a:pt x="1887172" y="962837"/>
                  </a:lnTo>
                  <a:lnTo>
                    <a:pt x="1881820" y="976192"/>
                  </a:lnTo>
                  <a:lnTo>
                    <a:pt x="1879938" y="985469"/>
                  </a:lnTo>
                  <a:lnTo>
                    <a:pt x="1885495" y="1031358"/>
                  </a:lnTo>
                  <a:lnTo>
                    <a:pt x="1887441" y="1037800"/>
                  </a:lnTo>
                  <a:lnTo>
                    <a:pt x="1890370" y="1042379"/>
                  </a:lnTo>
                  <a:lnTo>
                    <a:pt x="1892288" y="1046885"/>
                  </a:lnTo>
                  <a:lnTo>
                    <a:pt x="1892212" y="1053066"/>
                  </a:lnTo>
                  <a:lnTo>
                    <a:pt x="1886470" y="1063194"/>
                  </a:lnTo>
                  <a:lnTo>
                    <a:pt x="1874058" y="1077831"/>
                  </a:lnTo>
                  <a:lnTo>
                    <a:pt x="1872758" y="1081045"/>
                  </a:lnTo>
                  <a:lnTo>
                    <a:pt x="1871810" y="1085340"/>
                  </a:lnTo>
                  <a:lnTo>
                    <a:pt x="1872102" y="1093741"/>
                  </a:lnTo>
                  <a:lnTo>
                    <a:pt x="1870835" y="1099226"/>
                  </a:lnTo>
                  <a:lnTo>
                    <a:pt x="1855921" y="1127805"/>
                  </a:lnTo>
                  <a:lnTo>
                    <a:pt x="1851107" y="1132911"/>
                  </a:lnTo>
                  <a:lnTo>
                    <a:pt x="1846043" y="1136135"/>
                  </a:lnTo>
                  <a:lnTo>
                    <a:pt x="1837655" y="1138692"/>
                  </a:lnTo>
                  <a:lnTo>
                    <a:pt x="1836414" y="1146235"/>
                  </a:lnTo>
                  <a:lnTo>
                    <a:pt x="1856519" y="1169350"/>
                  </a:lnTo>
                  <a:lnTo>
                    <a:pt x="2033970" y="1299661"/>
                  </a:lnTo>
                  <a:lnTo>
                    <a:pt x="2091504" y="1327018"/>
                  </a:lnTo>
                  <a:lnTo>
                    <a:pt x="2126022" y="1337097"/>
                  </a:lnTo>
                  <a:lnTo>
                    <a:pt x="2149786" y="1349955"/>
                  </a:lnTo>
                  <a:lnTo>
                    <a:pt x="2172908" y="1367359"/>
                  </a:lnTo>
                  <a:lnTo>
                    <a:pt x="2184816" y="1381053"/>
                  </a:lnTo>
                  <a:lnTo>
                    <a:pt x="2192646" y="1393263"/>
                  </a:lnTo>
                  <a:lnTo>
                    <a:pt x="2192697" y="1423731"/>
                  </a:lnTo>
                  <a:lnTo>
                    <a:pt x="2173767" y="1452230"/>
                  </a:lnTo>
                  <a:lnTo>
                    <a:pt x="2160133" y="1512651"/>
                  </a:lnTo>
                  <a:lnTo>
                    <a:pt x="2159792" y="1550398"/>
                  </a:lnTo>
                  <a:lnTo>
                    <a:pt x="2158226" y="1570174"/>
                  </a:lnTo>
                  <a:lnTo>
                    <a:pt x="2140475" y="1610494"/>
                  </a:lnTo>
                  <a:lnTo>
                    <a:pt x="2071738" y="1667992"/>
                  </a:lnTo>
                  <a:lnTo>
                    <a:pt x="1915193" y="1733676"/>
                  </a:lnTo>
                  <a:lnTo>
                    <a:pt x="1903561" y="1750320"/>
                  </a:lnTo>
                  <a:lnTo>
                    <a:pt x="1899657" y="1761768"/>
                  </a:lnTo>
                  <a:lnTo>
                    <a:pt x="1887777" y="1773581"/>
                  </a:lnTo>
                  <a:lnTo>
                    <a:pt x="1869080" y="1783852"/>
                  </a:lnTo>
                  <a:lnTo>
                    <a:pt x="1834704" y="1794421"/>
                  </a:lnTo>
                  <a:lnTo>
                    <a:pt x="1807422" y="1811101"/>
                  </a:lnTo>
                  <a:lnTo>
                    <a:pt x="1758781" y="1849321"/>
                  </a:lnTo>
                  <a:lnTo>
                    <a:pt x="1732046" y="1857985"/>
                  </a:lnTo>
                  <a:lnTo>
                    <a:pt x="1699878" y="1858433"/>
                  </a:lnTo>
                  <a:lnTo>
                    <a:pt x="1677540" y="1852106"/>
                  </a:lnTo>
                  <a:lnTo>
                    <a:pt x="1653572" y="1841722"/>
                  </a:lnTo>
                  <a:lnTo>
                    <a:pt x="1591372" y="1799240"/>
                  </a:lnTo>
                  <a:lnTo>
                    <a:pt x="1581161" y="1797082"/>
                  </a:lnTo>
                  <a:lnTo>
                    <a:pt x="1566260" y="1801028"/>
                  </a:lnTo>
                  <a:lnTo>
                    <a:pt x="1525652" y="1820657"/>
                  </a:lnTo>
                  <a:lnTo>
                    <a:pt x="1472409" y="1835601"/>
                  </a:lnTo>
                  <a:lnTo>
                    <a:pt x="1450476" y="1851698"/>
                  </a:lnTo>
                  <a:lnTo>
                    <a:pt x="1443686" y="1852264"/>
                  </a:lnTo>
                  <a:lnTo>
                    <a:pt x="1438103" y="1836646"/>
                  </a:lnTo>
                  <a:lnTo>
                    <a:pt x="1436288" y="1824095"/>
                  </a:lnTo>
                  <a:lnTo>
                    <a:pt x="1423778" y="1793286"/>
                  </a:lnTo>
                  <a:lnTo>
                    <a:pt x="1373644" y="1734903"/>
                  </a:lnTo>
                  <a:lnTo>
                    <a:pt x="1325457" y="1741945"/>
                  </a:lnTo>
                  <a:lnTo>
                    <a:pt x="1308800" y="1738292"/>
                  </a:lnTo>
                  <a:lnTo>
                    <a:pt x="1279987" y="1727420"/>
                  </a:lnTo>
                  <a:lnTo>
                    <a:pt x="1247033" y="1721567"/>
                  </a:lnTo>
                  <a:lnTo>
                    <a:pt x="1232176" y="1715411"/>
                  </a:lnTo>
                  <a:lnTo>
                    <a:pt x="1205441" y="1699791"/>
                  </a:lnTo>
                  <a:lnTo>
                    <a:pt x="1195594" y="1698174"/>
                  </a:lnTo>
                  <a:lnTo>
                    <a:pt x="1183568" y="1700689"/>
                  </a:lnTo>
                  <a:lnTo>
                    <a:pt x="1067065" y="1759827"/>
                  </a:lnTo>
                  <a:lnTo>
                    <a:pt x="1048751" y="1775169"/>
                  </a:lnTo>
                  <a:lnTo>
                    <a:pt x="1035085" y="1793426"/>
                  </a:lnTo>
                  <a:lnTo>
                    <a:pt x="1029077" y="1816479"/>
                  </a:lnTo>
                  <a:lnTo>
                    <a:pt x="1026449" y="1836738"/>
                  </a:lnTo>
                  <a:lnTo>
                    <a:pt x="1024722" y="1868593"/>
                  </a:lnTo>
                  <a:lnTo>
                    <a:pt x="1025472" y="1884519"/>
                  </a:lnTo>
                  <a:lnTo>
                    <a:pt x="1029286" y="1901430"/>
                  </a:lnTo>
                  <a:lnTo>
                    <a:pt x="1038202" y="1918027"/>
                  </a:lnTo>
                  <a:lnTo>
                    <a:pt x="1050350" y="1934192"/>
                  </a:lnTo>
                  <a:lnTo>
                    <a:pt x="1064428" y="1949756"/>
                  </a:lnTo>
                  <a:lnTo>
                    <a:pt x="1072999" y="1963076"/>
                  </a:lnTo>
                  <a:lnTo>
                    <a:pt x="1083318" y="1984952"/>
                  </a:lnTo>
                  <a:lnTo>
                    <a:pt x="1088559" y="2011524"/>
                  </a:lnTo>
                  <a:lnTo>
                    <a:pt x="1089182" y="2033244"/>
                  </a:lnTo>
                  <a:lnTo>
                    <a:pt x="1085185" y="2050572"/>
                  </a:lnTo>
                  <a:lnTo>
                    <a:pt x="1081645" y="2057860"/>
                  </a:lnTo>
                  <a:lnTo>
                    <a:pt x="1077073" y="2063050"/>
                  </a:lnTo>
                  <a:lnTo>
                    <a:pt x="1049707" y="2086966"/>
                  </a:lnTo>
                  <a:lnTo>
                    <a:pt x="1046159" y="2093285"/>
                  </a:lnTo>
                  <a:lnTo>
                    <a:pt x="1032713" y="2096579"/>
                  </a:lnTo>
                  <a:lnTo>
                    <a:pt x="1022515" y="2102046"/>
                  </a:lnTo>
                  <a:lnTo>
                    <a:pt x="920612" y="2082600"/>
                  </a:lnTo>
                  <a:lnTo>
                    <a:pt x="857255" y="2042445"/>
                  </a:lnTo>
                  <a:lnTo>
                    <a:pt x="818354" y="2002615"/>
                  </a:lnTo>
                  <a:lnTo>
                    <a:pt x="809745" y="1980617"/>
                  </a:lnTo>
                  <a:lnTo>
                    <a:pt x="807544" y="1956081"/>
                  </a:lnTo>
                  <a:lnTo>
                    <a:pt x="813626" y="1934725"/>
                  </a:lnTo>
                  <a:lnTo>
                    <a:pt x="830402" y="1906207"/>
                  </a:lnTo>
                  <a:lnTo>
                    <a:pt x="836494" y="1893334"/>
                  </a:lnTo>
                  <a:lnTo>
                    <a:pt x="839686" y="1876523"/>
                  </a:lnTo>
                  <a:lnTo>
                    <a:pt x="836425" y="1862412"/>
                  </a:lnTo>
                  <a:lnTo>
                    <a:pt x="818181" y="1830690"/>
                  </a:lnTo>
                  <a:lnTo>
                    <a:pt x="857962" y="1706986"/>
                  </a:lnTo>
                  <a:lnTo>
                    <a:pt x="852501" y="1693135"/>
                  </a:lnTo>
                  <a:lnTo>
                    <a:pt x="844326" y="1677901"/>
                  </a:lnTo>
                  <a:lnTo>
                    <a:pt x="817193" y="1674560"/>
                  </a:lnTo>
                  <a:lnTo>
                    <a:pt x="794401" y="1664894"/>
                  </a:lnTo>
                  <a:lnTo>
                    <a:pt x="784050" y="1658529"/>
                  </a:lnTo>
                  <a:lnTo>
                    <a:pt x="778109" y="1653241"/>
                  </a:lnTo>
                  <a:lnTo>
                    <a:pt x="774541" y="1647657"/>
                  </a:lnTo>
                  <a:lnTo>
                    <a:pt x="769271" y="1635568"/>
                  </a:lnTo>
                  <a:lnTo>
                    <a:pt x="771292" y="1627917"/>
                  </a:lnTo>
                  <a:lnTo>
                    <a:pt x="778739" y="1621858"/>
                  </a:lnTo>
                  <a:lnTo>
                    <a:pt x="821659" y="1619846"/>
                  </a:lnTo>
                  <a:lnTo>
                    <a:pt x="839271" y="1616533"/>
                  </a:lnTo>
                  <a:lnTo>
                    <a:pt x="852615" y="1599611"/>
                  </a:lnTo>
                  <a:lnTo>
                    <a:pt x="826989" y="1576308"/>
                  </a:lnTo>
                  <a:lnTo>
                    <a:pt x="629545" y="1532376"/>
                  </a:lnTo>
                  <a:lnTo>
                    <a:pt x="612399" y="1520523"/>
                  </a:lnTo>
                  <a:lnTo>
                    <a:pt x="602422" y="1506989"/>
                  </a:lnTo>
                  <a:lnTo>
                    <a:pt x="597862" y="1492533"/>
                  </a:lnTo>
                  <a:lnTo>
                    <a:pt x="584035" y="1433197"/>
                  </a:lnTo>
                  <a:lnTo>
                    <a:pt x="581010" y="1412018"/>
                  </a:lnTo>
                  <a:lnTo>
                    <a:pt x="580014" y="1390591"/>
                  </a:lnTo>
                  <a:lnTo>
                    <a:pt x="582753" y="1344920"/>
                  </a:lnTo>
                  <a:lnTo>
                    <a:pt x="585470" y="1325469"/>
                  </a:lnTo>
                  <a:lnTo>
                    <a:pt x="589025" y="1311689"/>
                  </a:lnTo>
                  <a:lnTo>
                    <a:pt x="592913" y="1303708"/>
                  </a:lnTo>
                  <a:lnTo>
                    <a:pt x="598487" y="1299090"/>
                  </a:lnTo>
                  <a:lnTo>
                    <a:pt x="606250" y="1297836"/>
                  </a:lnTo>
                  <a:lnTo>
                    <a:pt x="635506" y="1306418"/>
                  </a:lnTo>
                  <a:lnTo>
                    <a:pt x="651373" y="1307933"/>
                  </a:lnTo>
                  <a:lnTo>
                    <a:pt x="666733" y="1303893"/>
                  </a:lnTo>
                  <a:lnTo>
                    <a:pt x="676688" y="1291962"/>
                  </a:lnTo>
                  <a:lnTo>
                    <a:pt x="677697" y="1279437"/>
                  </a:lnTo>
                  <a:lnTo>
                    <a:pt x="668413" y="1267971"/>
                  </a:lnTo>
                  <a:lnTo>
                    <a:pt x="658626" y="1261211"/>
                  </a:lnTo>
                  <a:lnTo>
                    <a:pt x="647491" y="1255579"/>
                  </a:lnTo>
                  <a:lnTo>
                    <a:pt x="614549" y="1231709"/>
                  </a:lnTo>
                  <a:lnTo>
                    <a:pt x="540241" y="1265930"/>
                  </a:lnTo>
                  <a:lnTo>
                    <a:pt x="477575" y="1273300"/>
                  </a:lnTo>
                  <a:lnTo>
                    <a:pt x="436021" y="1268460"/>
                  </a:lnTo>
                  <a:lnTo>
                    <a:pt x="393211" y="1253254"/>
                  </a:lnTo>
                  <a:lnTo>
                    <a:pt x="388158" y="1250721"/>
                  </a:lnTo>
                  <a:lnTo>
                    <a:pt x="382716" y="1247006"/>
                  </a:lnTo>
                  <a:lnTo>
                    <a:pt x="351124" y="1213119"/>
                  </a:lnTo>
                  <a:lnTo>
                    <a:pt x="324207" y="1197015"/>
                  </a:lnTo>
                  <a:lnTo>
                    <a:pt x="296858" y="1193078"/>
                  </a:lnTo>
                  <a:lnTo>
                    <a:pt x="250768" y="1195477"/>
                  </a:lnTo>
                  <a:lnTo>
                    <a:pt x="230507" y="1201638"/>
                  </a:lnTo>
                  <a:lnTo>
                    <a:pt x="217135" y="1212122"/>
                  </a:lnTo>
                  <a:lnTo>
                    <a:pt x="208744" y="1236612"/>
                  </a:lnTo>
                  <a:lnTo>
                    <a:pt x="205670" y="1243742"/>
                  </a:lnTo>
                  <a:lnTo>
                    <a:pt x="192243" y="1252069"/>
                  </a:lnTo>
                  <a:lnTo>
                    <a:pt x="141380" y="1266194"/>
                  </a:lnTo>
                  <a:lnTo>
                    <a:pt x="119623" y="1274850"/>
                  </a:lnTo>
                  <a:lnTo>
                    <a:pt x="116857" y="1257339"/>
                  </a:lnTo>
                  <a:lnTo>
                    <a:pt x="100786" y="1220935"/>
                  </a:lnTo>
                  <a:lnTo>
                    <a:pt x="24828" y="1140067"/>
                  </a:lnTo>
                  <a:lnTo>
                    <a:pt x="14841" y="1123945"/>
                  </a:lnTo>
                  <a:lnTo>
                    <a:pt x="5334" y="1104295"/>
                  </a:lnTo>
                  <a:lnTo>
                    <a:pt x="0" y="1082821"/>
                  </a:lnTo>
                  <a:lnTo>
                    <a:pt x="2302" y="1060911"/>
                  </a:lnTo>
                  <a:lnTo>
                    <a:pt x="9011" y="1049281"/>
                  </a:lnTo>
                  <a:lnTo>
                    <a:pt x="15985" y="1046940"/>
                  </a:lnTo>
                  <a:lnTo>
                    <a:pt x="23050" y="1047328"/>
                  </a:lnTo>
                  <a:lnTo>
                    <a:pt x="29692" y="1044350"/>
                  </a:lnTo>
                  <a:lnTo>
                    <a:pt x="45348" y="1020135"/>
                  </a:lnTo>
                  <a:lnTo>
                    <a:pt x="49761" y="1014788"/>
                  </a:lnTo>
                  <a:lnTo>
                    <a:pt x="93137" y="984753"/>
                  </a:lnTo>
                  <a:lnTo>
                    <a:pt x="107368" y="968545"/>
                  </a:lnTo>
                  <a:lnTo>
                    <a:pt x="127402" y="937327"/>
                  </a:lnTo>
                  <a:lnTo>
                    <a:pt x="137328" y="926545"/>
                  </a:lnTo>
                  <a:lnTo>
                    <a:pt x="153737" y="917866"/>
                  </a:lnTo>
                  <a:lnTo>
                    <a:pt x="213837" y="906476"/>
                  </a:lnTo>
                  <a:lnTo>
                    <a:pt x="212401" y="902604"/>
                  </a:lnTo>
                  <a:lnTo>
                    <a:pt x="229268" y="889074"/>
                  </a:lnTo>
                  <a:lnTo>
                    <a:pt x="264295" y="869709"/>
                  </a:lnTo>
                  <a:lnTo>
                    <a:pt x="304757" y="831060"/>
                  </a:lnTo>
                  <a:lnTo>
                    <a:pt x="322261" y="818656"/>
                  </a:lnTo>
                  <a:lnTo>
                    <a:pt x="434593" y="774314"/>
                  </a:lnTo>
                  <a:lnTo>
                    <a:pt x="583670" y="748468"/>
                  </a:lnTo>
                  <a:lnTo>
                    <a:pt x="620009" y="728112"/>
                  </a:lnTo>
                  <a:lnTo>
                    <a:pt x="725647" y="635483"/>
                  </a:lnTo>
                  <a:lnTo>
                    <a:pt x="740689" y="610135"/>
                  </a:lnTo>
                  <a:lnTo>
                    <a:pt x="746787" y="575634"/>
                  </a:lnTo>
                  <a:lnTo>
                    <a:pt x="748896" y="567226"/>
                  </a:lnTo>
                  <a:lnTo>
                    <a:pt x="753793" y="558815"/>
                  </a:lnTo>
                  <a:lnTo>
                    <a:pt x="758574" y="547638"/>
                  </a:lnTo>
                  <a:lnTo>
                    <a:pt x="760782" y="530701"/>
                  </a:lnTo>
                  <a:lnTo>
                    <a:pt x="758714" y="484783"/>
                  </a:lnTo>
                  <a:lnTo>
                    <a:pt x="760700" y="469651"/>
                  </a:lnTo>
                  <a:lnTo>
                    <a:pt x="765804" y="454733"/>
                  </a:lnTo>
                  <a:lnTo>
                    <a:pt x="780235" y="423913"/>
                  </a:lnTo>
                  <a:lnTo>
                    <a:pt x="783217" y="408066"/>
                  </a:lnTo>
                  <a:lnTo>
                    <a:pt x="780856" y="393791"/>
                  </a:lnTo>
                  <a:lnTo>
                    <a:pt x="770815" y="378131"/>
                  </a:lnTo>
                  <a:lnTo>
                    <a:pt x="766433" y="348810"/>
                  </a:lnTo>
                  <a:lnTo>
                    <a:pt x="763197" y="341508"/>
                  </a:lnTo>
                  <a:lnTo>
                    <a:pt x="762521" y="335622"/>
                  </a:lnTo>
                  <a:lnTo>
                    <a:pt x="768400" y="324312"/>
                  </a:lnTo>
                  <a:lnTo>
                    <a:pt x="778062" y="315310"/>
                  </a:lnTo>
                  <a:lnTo>
                    <a:pt x="813176" y="302011"/>
                  </a:lnTo>
                  <a:lnTo>
                    <a:pt x="849188" y="297063"/>
                  </a:lnTo>
                  <a:lnTo>
                    <a:pt x="960817" y="327975"/>
                  </a:lnTo>
                  <a:lnTo>
                    <a:pt x="979654" y="338069"/>
                  </a:lnTo>
                  <a:lnTo>
                    <a:pt x="997173" y="351024"/>
                  </a:lnTo>
                  <a:lnTo>
                    <a:pt x="1013750" y="376329"/>
                  </a:lnTo>
                  <a:lnTo>
                    <a:pt x="1057973" y="396079"/>
                  </a:lnTo>
                  <a:lnTo>
                    <a:pt x="1060323" y="398548"/>
                  </a:lnTo>
                  <a:lnTo>
                    <a:pt x="1069675" y="355099"/>
                  </a:lnTo>
                  <a:lnTo>
                    <a:pt x="1078702" y="336525"/>
                  </a:lnTo>
                  <a:lnTo>
                    <a:pt x="1082377" y="337349"/>
                  </a:lnTo>
                  <a:lnTo>
                    <a:pt x="1104715" y="333613"/>
                  </a:lnTo>
                  <a:lnTo>
                    <a:pt x="1113259" y="329869"/>
                  </a:lnTo>
                  <a:lnTo>
                    <a:pt x="1122106" y="320955"/>
                  </a:lnTo>
                  <a:lnTo>
                    <a:pt x="1127177" y="313234"/>
                  </a:lnTo>
                  <a:lnTo>
                    <a:pt x="1145395" y="273050"/>
                  </a:lnTo>
                  <a:lnTo>
                    <a:pt x="1151933" y="251666"/>
                  </a:lnTo>
                  <a:lnTo>
                    <a:pt x="1155122" y="228199"/>
                  </a:lnTo>
                  <a:lnTo>
                    <a:pt x="1155732" y="200883"/>
                  </a:lnTo>
                  <a:lnTo>
                    <a:pt x="1149749" y="148405"/>
                  </a:lnTo>
                  <a:lnTo>
                    <a:pt x="1152404" y="128980"/>
                  </a:lnTo>
                  <a:lnTo>
                    <a:pt x="1166630" y="115189"/>
                  </a:lnTo>
                  <a:lnTo>
                    <a:pt x="1153168" y="108803"/>
                  </a:lnTo>
                  <a:lnTo>
                    <a:pt x="1147813" y="103879"/>
                  </a:lnTo>
                  <a:lnTo>
                    <a:pt x="1136255" y="81344"/>
                  </a:lnTo>
                  <a:lnTo>
                    <a:pt x="1130722" y="83393"/>
                  </a:lnTo>
                  <a:lnTo>
                    <a:pt x="1133071" y="67921"/>
                  </a:lnTo>
                  <a:lnTo>
                    <a:pt x="1164686" y="0"/>
                  </a:lnTo>
                  <a:lnTo>
                    <a:pt x="1207858" y="11313"/>
                  </a:lnTo>
                  <a:lnTo>
                    <a:pt x="1228322" y="22350"/>
                  </a:lnTo>
                  <a:lnTo>
                    <a:pt x="1247936" y="37507"/>
                  </a:lnTo>
                  <a:lnTo>
                    <a:pt x="1271580" y="56909"/>
                  </a:lnTo>
                  <a:lnTo>
                    <a:pt x="1344082" y="96162"/>
                  </a:lnTo>
                  <a:lnTo>
                    <a:pt x="1353597" y="106336"/>
                  </a:lnTo>
                  <a:lnTo>
                    <a:pt x="1371697" y="133660"/>
                  </a:lnTo>
                  <a:lnTo>
                    <a:pt x="1378695" y="146954"/>
                  </a:lnTo>
                  <a:lnTo>
                    <a:pt x="1384178" y="152035"/>
                  </a:lnTo>
                  <a:lnTo>
                    <a:pt x="1391641" y="154990"/>
                  </a:lnTo>
                  <a:lnTo>
                    <a:pt x="1398120" y="159472"/>
                  </a:lnTo>
                  <a:lnTo>
                    <a:pt x="1400985" y="169359"/>
                  </a:lnTo>
                  <a:lnTo>
                    <a:pt x="1399080" y="179549"/>
                  </a:lnTo>
                  <a:close/>
                </a:path>
              </a:pathLst>
            </a:custGeom>
            <a:solidFill>
              <a:srgbClr val="DDDDDD"/>
            </a:solidFill>
            <a:ln w="3175" cap="rnd">
              <a:solidFill>
                <a:srgbClr val="C0C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IE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Freeform 7">
              <a:extLst>
                <a:ext uri="{FF2B5EF4-FFF2-40B4-BE49-F238E27FC236}">
                  <a16:creationId xmlns:a16="http://schemas.microsoft.com/office/drawing/2014/main" id="{21BEC669-E85E-0CAA-323A-78495A1BCC17}"/>
                </a:ext>
              </a:extLst>
            </p:cNvPr>
            <p:cNvSpPr>
              <a:spLocks noChangeAspect="1"/>
            </p:cNvSpPr>
            <p:nvPr>
              <p:custDataLst>
                <p:tags r:id="rId6"/>
              </p:custDataLst>
            </p:nvPr>
          </p:nvSpPr>
          <p:spPr>
            <a:xfrm>
              <a:off x="3217203" y="3395861"/>
              <a:ext cx="2052959" cy="1753952"/>
            </a:xfrm>
            <a:custGeom>
              <a:avLst/>
              <a:gdLst/>
              <a:ahLst/>
              <a:cxnLst/>
              <a:rect l="0" t="0" r="0" b="0"/>
              <a:pathLst>
                <a:path w="2052959" h="1753952">
                  <a:moveTo>
                    <a:pt x="1212917" y="80222"/>
                  </a:moveTo>
                  <a:lnTo>
                    <a:pt x="1275583" y="72852"/>
                  </a:lnTo>
                  <a:lnTo>
                    <a:pt x="1349891" y="38631"/>
                  </a:lnTo>
                  <a:lnTo>
                    <a:pt x="1382833" y="62501"/>
                  </a:lnTo>
                  <a:lnTo>
                    <a:pt x="1393968" y="68133"/>
                  </a:lnTo>
                  <a:lnTo>
                    <a:pt x="1403755" y="74893"/>
                  </a:lnTo>
                  <a:lnTo>
                    <a:pt x="1413039" y="86359"/>
                  </a:lnTo>
                  <a:lnTo>
                    <a:pt x="1412030" y="98884"/>
                  </a:lnTo>
                  <a:lnTo>
                    <a:pt x="1402075" y="110815"/>
                  </a:lnTo>
                  <a:lnTo>
                    <a:pt x="1386715" y="114855"/>
                  </a:lnTo>
                  <a:lnTo>
                    <a:pt x="1370848" y="113340"/>
                  </a:lnTo>
                  <a:lnTo>
                    <a:pt x="1341592" y="104758"/>
                  </a:lnTo>
                  <a:lnTo>
                    <a:pt x="1333829" y="106012"/>
                  </a:lnTo>
                  <a:lnTo>
                    <a:pt x="1328255" y="110630"/>
                  </a:lnTo>
                  <a:lnTo>
                    <a:pt x="1324367" y="118611"/>
                  </a:lnTo>
                  <a:lnTo>
                    <a:pt x="1320812" y="132391"/>
                  </a:lnTo>
                  <a:lnTo>
                    <a:pt x="1318095" y="151842"/>
                  </a:lnTo>
                  <a:lnTo>
                    <a:pt x="1315356" y="197513"/>
                  </a:lnTo>
                  <a:lnTo>
                    <a:pt x="1316352" y="218940"/>
                  </a:lnTo>
                  <a:lnTo>
                    <a:pt x="1319377" y="240119"/>
                  </a:lnTo>
                  <a:lnTo>
                    <a:pt x="1333204" y="299455"/>
                  </a:lnTo>
                  <a:lnTo>
                    <a:pt x="1337764" y="313911"/>
                  </a:lnTo>
                  <a:lnTo>
                    <a:pt x="1347741" y="327445"/>
                  </a:lnTo>
                  <a:lnTo>
                    <a:pt x="1364887" y="339298"/>
                  </a:lnTo>
                  <a:lnTo>
                    <a:pt x="1562331" y="383230"/>
                  </a:lnTo>
                  <a:lnTo>
                    <a:pt x="1587957" y="406533"/>
                  </a:lnTo>
                  <a:lnTo>
                    <a:pt x="1574613" y="423455"/>
                  </a:lnTo>
                  <a:lnTo>
                    <a:pt x="1557001" y="426768"/>
                  </a:lnTo>
                  <a:lnTo>
                    <a:pt x="1514081" y="428780"/>
                  </a:lnTo>
                  <a:lnTo>
                    <a:pt x="1506634" y="434839"/>
                  </a:lnTo>
                  <a:lnTo>
                    <a:pt x="1504613" y="442490"/>
                  </a:lnTo>
                  <a:lnTo>
                    <a:pt x="1509883" y="454579"/>
                  </a:lnTo>
                  <a:lnTo>
                    <a:pt x="1513451" y="460163"/>
                  </a:lnTo>
                  <a:lnTo>
                    <a:pt x="1519392" y="465451"/>
                  </a:lnTo>
                  <a:lnTo>
                    <a:pt x="1529743" y="471816"/>
                  </a:lnTo>
                  <a:lnTo>
                    <a:pt x="1552535" y="481482"/>
                  </a:lnTo>
                  <a:lnTo>
                    <a:pt x="1579668" y="484823"/>
                  </a:lnTo>
                  <a:lnTo>
                    <a:pt x="1587843" y="500057"/>
                  </a:lnTo>
                  <a:lnTo>
                    <a:pt x="1593304" y="513908"/>
                  </a:lnTo>
                  <a:lnTo>
                    <a:pt x="1553523" y="637612"/>
                  </a:lnTo>
                  <a:lnTo>
                    <a:pt x="1571767" y="669334"/>
                  </a:lnTo>
                  <a:lnTo>
                    <a:pt x="1575028" y="683445"/>
                  </a:lnTo>
                  <a:lnTo>
                    <a:pt x="1571836" y="700256"/>
                  </a:lnTo>
                  <a:lnTo>
                    <a:pt x="1565744" y="713129"/>
                  </a:lnTo>
                  <a:lnTo>
                    <a:pt x="1548968" y="741647"/>
                  </a:lnTo>
                  <a:lnTo>
                    <a:pt x="1542886" y="763003"/>
                  </a:lnTo>
                  <a:lnTo>
                    <a:pt x="1545087" y="787539"/>
                  </a:lnTo>
                  <a:lnTo>
                    <a:pt x="1553696" y="809537"/>
                  </a:lnTo>
                  <a:lnTo>
                    <a:pt x="1592597" y="849367"/>
                  </a:lnTo>
                  <a:lnTo>
                    <a:pt x="1655954" y="889522"/>
                  </a:lnTo>
                  <a:lnTo>
                    <a:pt x="1647170" y="913667"/>
                  </a:lnTo>
                  <a:lnTo>
                    <a:pt x="1639421" y="943689"/>
                  </a:lnTo>
                  <a:lnTo>
                    <a:pt x="1637924" y="956217"/>
                  </a:lnTo>
                  <a:lnTo>
                    <a:pt x="1648673" y="1013998"/>
                  </a:lnTo>
                  <a:lnTo>
                    <a:pt x="1681694" y="1123380"/>
                  </a:lnTo>
                  <a:lnTo>
                    <a:pt x="1710792" y="1183270"/>
                  </a:lnTo>
                  <a:lnTo>
                    <a:pt x="1745687" y="1215733"/>
                  </a:lnTo>
                  <a:lnTo>
                    <a:pt x="1764557" y="1229268"/>
                  </a:lnTo>
                  <a:lnTo>
                    <a:pt x="1780997" y="1233647"/>
                  </a:lnTo>
                  <a:lnTo>
                    <a:pt x="1796195" y="1228364"/>
                  </a:lnTo>
                  <a:lnTo>
                    <a:pt x="1811583" y="1215939"/>
                  </a:lnTo>
                  <a:lnTo>
                    <a:pt x="1829840" y="1208030"/>
                  </a:lnTo>
                  <a:lnTo>
                    <a:pt x="1860827" y="1204414"/>
                  </a:lnTo>
                  <a:lnTo>
                    <a:pt x="1877179" y="1193484"/>
                  </a:lnTo>
                  <a:lnTo>
                    <a:pt x="1893902" y="1188089"/>
                  </a:lnTo>
                  <a:lnTo>
                    <a:pt x="1908491" y="1197585"/>
                  </a:lnTo>
                  <a:lnTo>
                    <a:pt x="1926731" y="1234064"/>
                  </a:lnTo>
                  <a:lnTo>
                    <a:pt x="1951270" y="1271887"/>
                  </a:lnTo>
                  <a:lnTo>
                    <a:pt x="1957017" y="1287022"/>
                  </a:lnTo>
                  <a:lnTo>
                    <a:pt x="1960019" y="1300698"/>
                  </a:lnTo>
                  <a:lnTo>
                    <a:pt x="1965441" y="1317888"/>
                  </a:lnTo>
                  <a:lnTo>
                    <a:pt x="1974276" y="1332871"/>
                  </a:lnTo>
                  <a:lnTo>
                    <a:pt x="2011148" y="1379537"/>
                  </a:lnTo>
                  <a:lnTo>
                    <a:pt x="2044395" y="1402860"/>
                  </a:lnTo>
                  <a:lnTo>
                    <a:pt x="2052958" y="1416744"/>
                  </a:lnTo>
                  <a:lnTo>
                    <a:pt x="2050687" y="1433486"/>
                  </a:lnTo>
                  <a:lnTo>
                    <a:pt x="2029404" y="1460874"/>
                  </a:lnTo>
                  <a:lnTo>
                    <a:pt x="1997045" y="1492791"/>
                  </a:lnTo>
                  <a:lnTo>
                    <a:pt x="1987883" y="1507433"/>
                  </a:lnTo>
                  <a:lnTo>
                    <a:pt x="1986138" y="1527910"/>
                  </a:lnTo>
                  <a:lnTo>
                    <a:pt x="1988597" y="1560497"/>
                  </a:lnTo>
                  <a:lnTo>
                    <a:pt x="1983001" y="1578854"/>
                  </a:lnTo>
                  <a:lnTo>
                    <a:pt x="1970676" y="1610072"/>
                  </a:lnTo>
                  <a:lnTo>
                    <a:pt x="1923413" y="1698993"/>
                  </a:lnTo>
                  <a:lnTo>
                    <a:pt x="1881249" y="1753951"/>
                  </a:lnTo>
                  <a:lnTo>
                    <a:pt x="1848613" y="1711195"/>
                  </a:lnTo>
                  <a:lnTo>
                    <a:pt x="1752958" y="1637624"/>
                  </a:lnTo>
                  <a:lnTo>
                    <a:pt x="1713642" y="1617282"/>
                  </a:lnTo>
                  <a:lnTo>
                    <a:pt x="1685263" y="1608479"/>
                  </a:lnTo>
                  <a:lnTo>
                    <a:pt x="1636064" y="1604685"/>
                  </a:lnTo>
                  <a:lnTo>
                    <a:pt x="1524768" y="1580908"/>
                  </a:lnTo>
                  <a:lnTo>
                    <a:pt x="1500724" y="1579263"/>
                  </a:lnTo>
                  <a:lnTo>
                    <a:pt x="1398599" y="1552363"/>
                  </a:lnTo>
                  <a:lnTo>
                    <a:pt x="1355112" y="1539085"/>
                  </a:lnTo>
                  <a:lnTo>
                    <a:pt x="1334513" y="1540335"/>
                  </a:lnTo>
                  <a:lnTo>
                    <a:pt x="1317516" y="1544529"/>
                  </a:lnTo>
                  <a:lnTo>
                    <a:pt x="1289792" y="1571473"/>
                  </a:lnTo>
                  <a:lnTo>
                    <a:pt x="1264180" y="1591526"/>
                  </a:lnTo>
                  <a:lnTo>
                    <a:pt x="1205840" y="1619742"/>
                  </a:lnTo>
                  <a:lnTo>
                    <a:pt x="1162634" y="1629051"/>
                  </a:lnTo>
                  <a:lnTo>
                    <a:pt x="1079396" y="1633548"/>
                  </a:lnTo>
                  <a:lnTo>
                    <a:pt x="1046188" y="1629851"/>
                  </a:lnTo>
                  <a:lnTo>
                    <a:pt x="1025421" y="1623967"/>
                  </a:lnTo>
                  <a:lnTo>
                    <a:pt x="1007081" y="1613722"/>
                  </a:lnTo>
                  <a:lnTo>
                    <a:pt x="918971" y="1556104"/>
                  </a:lnTo>
                  <a:lnTo>
                    <a:pt x="865510" y="1538535"/>
                  </a:lnTo>
                  <a:lnTo>
                    <a:pt x="829946" y="1534529"/>
                  </a:lnTo>
                  <a:lnTo>
                    <a:pt x="762042" y="1517173"/>
                  </a:lnTo>
                  <a:lnTo>
                    <a:pt x="711557" y="1491669"/>
                  </a:lnTo>
                  <a:lnTo>
                    <a:pt x="667989" y="1463037"/>
                  </a:lnTo>
                  <a:lnTo>
                    <a:pt x="653807" y="1456745"/>
                  </a:lnTo>
                  <a:lnTo>
                    <a:pt x="643697" y="1455771"/>
                  </a:lnTo>
                  <a:lnTo>
                    <a:pt x="638530" y="1458375"/>
                  </a:lnTo>
                  <a:lnTo>
                    <a:pt x="635062" y="1462756"/>
                  </a:lnTo>
                  <a:lnTo>
                    <a:pt x="633482" y="1466904"/>
                  </a:lnTo>
                  <a:lnTo>
                    <a:pt x="632577" y="1472355"/>
                  </a:lnTo>
                  <a:lnTo>
                    <a:pt x="631166" y="1476797"/>
                  </a:lnTo>
                  <a:lnTo>
                    <a:pt x="627344" y="1482309"/>
                  </a:lnTo>
                  <a:lnTo>
                    <a:pt x="623363" y="1486225"/>
                  </a:lnTo>
                  <a:lnTo>
                    <a:pt x="608815" y="1495214"/>
                  </a:lnTo>
                  <a:lnTo>
                    <a:pt x="566149" y="1453095"/>
                  </a:lnTo>
                  <a:lnTo>
                    <a:pt x="547161" y="1442279"/>
                  </a:lnTo>
                  <a:lnTo>
                    <a:pt x="525950" y="1437200"/>
                  </a:lnTo>
                  <a:lnTo>
                    <a:pt x="496486" y="1434419"/>
                  </a:lnTo>
                  <a:lnTo>
                    <a:pt x="464486" y="1423201"/>
                  </a:lnTo>
                  <a:lnTo>
                    <a:pt x="435009" y="1422334"/>
                  </a:lnTo>
                  <a:lnTo>
                    <a:pt x="396474" y="1428959"/>
                  </a:lnTo>
                  <a:lnTo>
                    <a:pt x="370020" y="1428396"/>
                  </a:lnTo>
                  <a:lnTo>
                    <a:pt x="347348" y="1431735"/>
                  </a:lnTo>
                  <a:lnTo>
                    <a:pt x="328558" y="1439999"/>
                  </a:lnTo>
                  <a:lnTo>
                    <a:pt x="262006" y="1503021"/>
                  </a:lnTo>
                  <a:lnTo>
                    <a:pt x="162771" y="1546881"/>
                  </a:lnTo>
                  <a:lnTo>
                    <a:pt x="131989" y="1562804"/>
                  </a:lnTo>
                  <a:lnTo>
                    <a:pt x="132618" y="1542204"/>
                  </a:lnTo>
                  <a:lnTo>
                    <a:pt x="106661" y="1532827"/>
                  </a:lnTo>
                  <a:lnTo>
                    <a:pt x="53931" y="1542412"/>
                  </a:lnTo>
                  <a:lnTo>
                    <a:pt x="54053" y="1541570"/>
                  </a:lnTo>
                  <a:lnTo>
                    <a:pt x="55078" y="1534483"/>
                  </a:lnTo>
                  <a:lnTo>
                    <a:pt x="52928" y="1473564"/>
                  </a:lnTo>
                  <a:lnTo>
                    <a:pt x="49349" y="1457205"/>
                  </a:lnTo>
                  <a:lnTo>
                    <a:pt x="40611" y="1434505"/>
                  </a:lnTo>
                  <a:lnTo>
                    <a:pt x="32351" y="1425503"/>
                  </a:lnTo>
                  <a:lnTo>
                    <a:pt x="14246" y="1410258"/>
                  </a:lnTo>
                  <a:lnTo>
                    <a:pt x="7726" y="1399899"/>
                  </a:lnTo>
                  <a:lnTo>
                    <a:pt x="2342" y="1382925"/>
                  </a:lnTo>
                  <a:lnTo>
                    <a:pt x="0" y="1365150"/>
                  </a:lnTo>
                  <a:lnTo>
                    <a:pt x="364" y="1335408"/>
                  </a:lnTo>
                  <a:lnTo>
                    <a:pt x="3489" y="1311461"/>
                  </a:lnTo>
                  <a:lnTo>
                    <a:pt x="19911" y="1247724"/>
                  </a:lnTo>
                  <a:lnTo>
                    <a:pt x="18039" y="1214838"/>
                  </a:lnTo>
                  <a:lnTo>
                    <a:pt x="48896" y="1199436"/>
                  </a:lnTo>
                  <a:lnTo>
                    <a:pt x="64392" y="1196234"/>
                  </a:lnTo>
                  <a:lnTo>
                    <a:pt x="98224" y="1198009"/>
                  </a:lnTo>
                  <a:lnTo>
                    <a:pt x="222205" y="1155574"/>
                  </a:lnTo>
                  <a:lnTo>
                    <a:pt x="261194" y="1132316"/>
                  </a:lnTo>
                  <a:lnTo>
                    <a:pt x="277283" y="1130213"/>
                  </a:lnTo>
                  <a:lnTo>
                    <a:pt x="290231" y="1133028"/>
                  </a:lnTo>
                  <a:lnTo>
                    <a:pt x="314889" y="1147125"/>
                  </a:lnTo>
                  <a:lnTo>
                    <a:pt x="329696" y="1151930"/>
                  </a:lnTo>
                  <a:lnTo>
                    <a:pt x="346261" y="1153057"/>
                  </a:lnTo>
                  <a:lnTo>
                    <a:pt x="382263" y="1148233"/>
                  </a:lnTo>
                  <a:lnTo>
                    <a:pt x="403541" y="1140619"/>
                  </a:lnTo>
                  <a:lnTo>
                    <a:pt x="417636" y="1133218"/>
                  </a:lnTo>
                  <a:lnTo>
                    <a:pt x="431282" y="1119885"/>
                  </a:lnTo>
                  <a:lnTo>
                    <a:pt x="442465" y="1102403"/>
                  </a:lnTo>
                  <a:lnTo>
                    <a:pt x="452867" y="1072560"/>
                  </a:lnTo>
                  <a:lnTo>
                    <a:pt x="461049" y="1057897"/>
                  </a:lnTo>
                  <a:lnTo>
                    <a:pt x="467455" y="1049561"/>
                  </a:lnTo>
                  <a:lnTo>
                    <a:pt x="475689" y="1045747"/>
                  </a:lnTo>
                  <a:lnTo>
                    <a:pt x="486644" y="1042792"/>
                  </a:lnTo>
                  <a:lnTo>
                    <a:pt x="540855" y="1037631"/>
                  </a:lnTo>
                  <a:lnTo>
                    <a:pt x="553535" y="1032545"/>
                  </a:lnTo>
                  <a:lnTo>
                    <a:pt x="564924" y="1025260"/>
                  </a:lnTo>
                  <a:lnTo>
                    <a:pt x="574559" y="1016866"/>
                  </a:lnTo>
                  <a:lnTo>
                    <a:pt x="583529" y="1006610"/>
                  </a:lnTo>
                  <a:lnTo>
                    <a:pt x="591315" y="994834"/>
                  </a:lnTo>
                  <a:lnTo>
                    <a:pt x="615137" y="944383"/>
                  </a:lnTo>
                  <a:lnTo>
                    <a:pt x="626786" y="925325"/>
                  </a:lnTo>
                  <a:lnTo>
                    <a:pt x="648497" y="898034"/>
                  </a:lnTo>
                  <a:lnTo>
                    <a:pt x="656103" y="885079"/>
                  </a:lnTo>
                  <a:lnTo>
                    <a:pt x="661486" y="873146"/>
                  </a:lnTo>
                  <a:lnTo>
                    <a:pt x="663926" y="866653"/>
                  </a:lnTo>
                  <a:lnTo>
                    <a:pt x="661458" y="856384"/>
                  </a:lnTo>
                  <a:lnTo>
                    <a:pt x="640645" y="801913"/>
                  </a:lnTo>
                  <a:lnTo>
                    <a:pt x="636387" y="782968"/>
                  </a:lnTo>
                  <a:lnTo>
                    <a:pt x="635483" y="769605"/>
                  </a:lnTo>
                  <a:lnTo>
                    <a:pt x="640357" y="757042"/>
                  </a:lnTo>
                  <a:lnTo>
                    <a:pt x="641614" y="749485"/>
                  </a:lnTo>
                  <a:lnTo>
                    <a:pt x="637942" y="741556"/>
                  </a:lnTo>
                  <a:lnTo>
                    <a:pt x="628007" y="730209"/>
                  </a:lnTo>
                  <a:lnTo>
                    <a:pt x="589600" y="703469"/>
                  </a:lnTo>
                  <a:lnTo>
                    <a:pt x="567192" y="682543"/>
                  </a:lnTo>
                  <a:lnTo>
                    <a:pt x="539387" y="633121"/>
                  </a:lnTo>
                  <a:lnTo>
                    <a:pt x="578067" y="599155"/>
                  </a:lnTo>
                  <a:lnTo>
                    <a:pt x="598990" y="588849"/>
                  </a:lnTo>
                  <a:lnTo>
                    <a:pt x="638116" y="579786"/>
                  </a:lnTo>
                  <a:lnTo>
                    <a:pt x="677154" y="580120"/>
                  </a:lnTo>
                  <a:lnTo>
                    <a:pt x="738478" y="596496"/>
                  </a:lnTo>
                  <a:lnTo>
                    <a:pt x="757284" y="594199"/>
                  </a:lnTo>
                  <a:lnTo>
                    <a:pt x="745753" y="622518"/>
                  </a:lnTo>
                  <a:lnTo>
                    <a:pt x="762806" y="643816"/>
                  </a:lnTo>
                  <a:lnTo>
                    <a:pt x="791098" y="662846"/>
                  </a:lnTo>
                  <a:lnTo>
                    <a:pt x="812705" y="684085"/>
                  </a:lnTo>
                  <a:lnTo>
                    <a:pt x="782689" y="698753"/>
                  </a:lnTo>
                  <a:lnTo>
                    <a:pt x="769045" y="736347"/>
                  </a:lnTo>
                  <a:lnTo>
                    <a:pt x="774539" y="776509"/>
                  </a:lnTo>
                  <a:lnTo>
                    <a:pt x="801497" y="798633"/>
                  </a:lnTo>
                  <a:lnTo>
                    <a:pt x="818381" y="801687"/>
                  </a:lnTo>
                  <a:lnTo>
                    <a:pt x="828681" y="805452"/>
                  </a:lnTo>
                  <a:lnTo>
                    <a:pt x="837937" y="812993"/>
                  </a:lnTo>
                  <a:lnTo>
                    <a:pt x="887767" y="868718"/>
                  </a:lnTo>
                  <a:lnTo>
                    <a:pt x="941374" y="909769"/>
                  </a:lnTo>
                  <a:lnTo>
                    <a:pt x="953390" y="914743"/>
                  </a:lnTo>
                  <a:lnTo>
                    <a:pt x="962722" y="911558"/>
                  </a:lnTo>
                  <a:lnTo>
                    <a:pt x="971834" y="906640"/>
                  </a:lnTo>
                  <a:lnTo>
                    <a:pt x="983308" y="906360"/>
                  </a:lnTo>
                  <a:lnTo>
                    <a:pt x="993846" y="912085"/>
                  </a:lnTo>
                  <a:lnTo>
                    <a:pt x="999951" y="918582"/>
                  </a:lnTo>
                  <a:lnTo>
                    <a:pt x="1006750" y="922812"/>
                  </a:lnTo>
                  <a:lnTo>
                    <a:pt x="1018568" y="922318"/>
                  </a:lnTo>
                  <a:lnTo>
                    <a:pt x="1026208" y="915713"/>
                  </a:lnTo>
                  <a:lnTo>
                    <a:pt x="1057706" y="878528"/>
                  </a:lnTo>
                  <a:lnTo>
                    <a:pt x="1057416" y="864998"/>
                  </a:lnTo>
                  <a:lnTo>
                    <a:pt x="1054616" y="855112"/>
                  </a:lnTo>
                  <a:lnTo>
                    <a:pt x="1051130" y="846780"/>
                  </a:lnTo>
                  <a:lnTo>
                    <a:pt x="1048667" y="837862"/>
                  </a:lnTo>
                  <a:lnTo>
                    <a:pt x="1047799" y="827779"/>
                  </a:lnTo>
                  <a:lnTo>
                    <a:pt x="1047911" y="799456"/>
                  </a:lnTo>
                  <a:lnTo>
                    <a:pt x="1050650" y="795223"/>
                  </a:lnTo>
                  <a:lnTo>
                    <a:pt x="1061188" y="768920"/>
                  </a:lnTo>
                  <a:lnTo>
                    <a:pt x="1062444" y="766573"/>
                  </a:lnTo>
                  <a:lnTo>
                    <a:pt x="1060059" y="767488"/>
                  </a:lnTo>
                  <a:lnTo>
                    <a:pt x="1059293" y="730596"/>
                  </a:lnTo>
                  <a:lnTo>
                    <a:pt x="1062236" y="731698"/>
                  </a:lnTo>
                  <a:lnTo>
                    <a:pt x="1080003" y="708490"/>
                  </a:lnTo>
                  <a:lnTo>
                    <a:pt x="1080699" y="703995"/>
                  </a:lnTo>
                  <a:lnTo>
                    <a:pt x="1093842" y="671816"/>
                  </a:lnTo>
                  <a:lnTo>
                    <a:pt x="1096572" y="668296"/>
                  </a:lnTo>
                  <a:lnTo>
                    <a:pt x="1099017" y="648640"/>
                  </a:lnTo>
                  <a:lnTo>
                    <a:pt x="1099763" y="628898"/>
                  </a:lnTo>
                  <a:lnTo>
                    <a:pt x="1096776" y="608045"/>
                  </a:lnTo>
                  <a:lnTo>
                    <a:pt x="1088143" y="584400"/>
                  </a:lnTo>
                  <a:lnTo>
                    <a:pt x="1066893" y="547607"/>
                  </a:lnTo>
                  <a:lnTo>
                    <a:pt x="1053496" y="531211"/>
                  </a:lnTo>
                  <a:lnTo>
                    <a:pt x="1039967" y="520903"/>
                  </a:lnTo>
                  <a:lnTo>
                    <a:pt x="1023017" y="518103"/>
                  </a:lnTo>
                  <a:lnTo>
                    <a:pt x="995257" y="530206"/>
                  </a:lnTo>
                  <a:lnTo>
                    <a:pt x="978845" y="532946"/>
                  </a:lnTo>
                  <a:lnTo>
                    <a:pt x="917950" y="521243"/>
                  </a:lnTo>
                  <a:lnTo>
                    <a:pt x="900188" y="502949"/>
                  </a:lnTo>
                  <a:lnTo>
                    <a:pt x="920710" y="471552"/>
                  </a:lnTo>
                  <a:lnTo>
                    <a:pt x="920937" y="471386"/>
                  </a:lnTo>
                  <a:lnTo>
                    <a:pt x="920937" y="471305"/>
                  </a:lnTo>
                  <a:lnTo>
                    <a:pt x="928006" y="459830"/>
                  </a:lnTo>
                  <a:lnTo>
                    <a:pt x="929985" y="449085"/>
                  </a:lnTo>
                  <a:lnTo>
                    <a:pt x="930379" y="438665"/>
                  </a:lnTo>
                  <a:lnTo>
                    <a:pt x="932581" y="428343"/>
                  </a:lnTo>
                  <a:lnTo>
                    <a:pt x="938635" y="415602"/>
                  </a:lnTo>
                  <a:lnTo>
                    <a:pt x="1009612" y="302584"/>
                  </a:lnTo>
                  <a:lnTo>
                    <a:pt x="1004559" y="297438"/>
                  </a:lnTo>
                  <a:lnTo>
                    <a:pt x="981157" y="262033"/>
                  </a:lnTo>
                  <a:lnTo>
                    <a:pt x="944631" y="175800"/>
                  </a:lnTo>
                  <a:lnTo>
                    <a:pt x="926372" y="157640"/>
                  </a:lnTo>
                  <a:lnTo>
                    <a:pt x="917616" y="152840"/>
                  </a:lnTo>
                  <a:lnTo>
                    <a:pt x="895794" y="129988"/>
                  </a:lnTo>
                  <a:lnTo>
                    <a:pt x="869777" y="114120"/>
                  </a:lnTo>
                  <a:lnTo>
                    <a:pt x="861079" y="101164"/>
                  </a:lnTo>
                  <a:lnTo>
                    <a:pt x="855336" y="84113"/>
                  </a:lnTo>
                  <a:lnTo>
                    <a:pt x="854965" y="81772"/>
                  </a:lnTo>
                  <a:lnTo>
                    <a:pt x="876722" y="73116"/>
                  </a:lnTo>
                  <a:lnTo>
                    <a:pt x="927585" y="58991"/>
                  </a:lnTo>
                  <a:lnTo>
                    <a:pt x="941012" y="50664"/>
                  </a:lnTo>
                  <a:lnTo>
                    <a:pt x="944086" y="43534"/>
                  </a:lnTo>
                  <a:lnTo>
                    <a:pt x="952477" y="19044"/>
                  </a:lnTo>
                  <a:lnTo>
                    <a:pt x="965849" y="8560"/>
                  </a:lnTo>
                  <a:lnTo>
                    <a:pt x="986110" y="2399"/>
                  </a:lnTo>
                  <a:lnTo>
                    <a:pt x="1032200" y="0"/>
                  </a:lnTo>
                  <a:lnTo>
                    <a:pt x="1059549" y="3937"/>
                  </a:lnTo>
                  <a:lnTo>
                    <a:pt x="1086466" y="20041"/>
                  </a:lnTo>
                  <a:lnTo>
                    <a:pt x="1118058" y="53928"/>
                  </a:lnTo>
                  <a:lnTo>
                    <a:pt x="1123500" y="57643"/>
                  </a:lnTo>
                  <a:lnTo>
                    <a:pt x="1128553" y="60176"/>
                  </a:lnTo>
                  <a:lnTo>
                    <a:pt x="1171363" y="75382"/>
                  </a:lnTo>
                  <a:close/>
                </a:path>
              </a:pathLst>
            </a:custGeom>
            <a:solidFill>
              <a:srgbClr val="DDDDDD"/>
            </a:solidFill>
            <a:ln w="3175" cap="rnd">
              <a:solidFill>
                <a:srgbClr val="C0C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IE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" name="Freeform 8">
              <a:extLst>
                <a:ext uri="{FF2B5EF4-FFF2-40B4-BE49-F238E27FC236}">
                  <a16:creationId xmlns:a16="http://schemas.microsoft.com/office/drawing/2014/main" id="{4A907898-0AA1-6DDC-5C57-21045C857AB3}"/>
                </a:ext>
              </a:extLst>
            </p:cNvPr>
            <p:cNvSpPr>
              <a:spLocks noChangeAspect="1"/>
            </p:cNvSpPr>
            <p:nvPr>
              <p:custDataLst>
                <p:tags r:id="rId7"/>
              </p:custDataLst>
            </p:nvPr>
          </p:nvSpPr>
          <p:spPr>
            <a:xfrm>
              <a:off x="989075" y="3877990"/>
              <a:ext cx="3185383" cy="1761626"/>
            </a:xfrm>
            <a:custGeom>
              <a:avLst/>
              <a:gdLst/>
              <a:ahLst/>
              <a:cxnLst/>
              <a:rect l="l" t="t" r="r" b="b"/>
              <a:pathLst>
                <a:path w="3185383" h="1761626">
                  <a:moveTo>
                    <a:pt x="2663137" y="940204"/>
                  </a:moveTo>
                  <a:lnTo>
                    <a:pt x="2692614" y="941071"/>
                  </a:lnTo>
                  <a:lnTo>
                    <a:pt x="2724614" y="952289"/>
                  </a:lnTo>
                  <a:lnTo>
                    <a:pt x="2754078" y="955070"/>
                  </a:lnTo>
                  <a:lnTo>
                    <a:pt x="2775289" y="960149"/>
                  </a:lnTo>
                  <a:lnTo>
                    <a:pt x="2794277" y="970965"/>
                  </a:lnTo>
                  <a:lnTo>
                    <a:pt x="2836943" y="1013084"/>
                  </a:lnTo>
                  <a:lnTo>
                    <a:pt x="2839924" y="1044326"/>
                  </a:lnTo>
                  <a:lnTo>
                    <a:pt x="2848792" y="1057221"/>
                  </a:lnTo>
                  <a:lnTo>
                    <a:pt x="2863279" y="1069240"/>
                  </a:lnTo>
                  <a:lnTo>
                    <a:pt x="2958545" y="1101908"/>
                  </a:lnTo>
                  <a:lnTo>
                    <a:pt x="2967780" y="1114794"/>
                  </a:lnTo>
                  <a:lnTo>
                    <a:pt x="2966279" y="1131754"/>
                  </a:lnTo>
                  <a:lnTo>
                    <a:pt x="2952219" y="1165684"/>
                  </a:lnTo>
                  <a:lnTo>
                    <a:pt x="2949205" y="1177764"/>
                  </a:lnTo>
                  <a:lnTo>
                    <a:pt x="2947568" y="1189345"/>
                  </a:lnTo>
                  <a:lnTo>
                    <a:pt x="2947343" y="1196316"/>
                  </a:lnTo>
                  <a:lnTo>
                    <a:pt x="2948144" y="1204014"/>
                  </a:lnTo>
                  <a:lnTo>
                    <a:pt x="2951634" y="1219797"/>
                  </a:lnTo>
                  <a:lnTo>
                    <a:pt x="2959095" y="1233885"/>
                  </a:lnTo>
                  <a:lnTo>
                    <a:pt x="2969882" y="1248339"/>
                  </a:lnTo>
                  <a:lnTo>
                    <a:pt x="2979208" y="1266807"/>
                  </a:lnTo>
                  <a:lnTo>
                    <a:pt x="3001429" y="1287934"/>
                  </a:lnTo>
                  <a:lnTo>
                    <a:pt x="3012731" y="1296294"/>
                  </a:lnTo>
                  <a:lnTo>
                    <a:pt x="3026456" y="1311598"/>
                  </a:lnTo>
                  <a:lnTo>
                    <a:pt x="3035123" y="1328672"/>
                  </a:lnTo>
                  <a:lnTo>
                    <a:pt x="3040314" y="1351013"/>
                  </a:lnTo>
                  <a:lnTo>
                    <a:pt x="3042754" y="1372752"/>
                  </a:lnTo>
                  <a:lnTo>
                    <a:pt x="3050168" y="1398600"/>
                  </a:lnTo>
                  <a:lnTo>
                    <a:pt x="3061784" y="1414684"/>
                  </a:lnTo>
                  <a:lnTo>
                    <a:pt x="3112546" y="1469698"/>
                  </a:lnTo>
                  <a:lnTo>
                    <a:pt x="3178885" y="1563244"/>
                  </a:lnTo>
                  <a:lnTo>
                    <a:pt x="3185383" y="1575961"/>
                  </a:lnTo>
                  <a:lnTo>
                    <a:pt x="3184666" y="1581503"/>
                  </a:lnTo>
                  <a:lnTo>
                    <a:pt x="3183613" y="1584946"/>
                  </a:lnTo>
                  <a:lnTo>
                    <a:pt x="3181519" y="1589222"/>
                  </a:lnTo>
                  <a:lnTo>
                    <a:pt x="3178048" y="1592648"/>
                  </a:lnTo>
                  <a:lnTo>
                    <a:pt x="3174071" y="1593552"/>
                  </a:lnTo>
                  <a:lnTo>
                    <a:pt x="3165098" y="1591912"/>
                  </a:lnTo>
                  <a:lnTo>
                    <a:pt x="3125484" y="1561868"/>
                  </a:lnTo>
                  <a:lnTo>
                    <a:pt x="3113769" y="1557428"/>
                  </a:lnTo>
                  <a:lnTo>
                    <a:pt x="3100811" y="1559033"/>
                  </a:lnTo>
                  <a:lnTo>
                    <a:pt x="3055740" y="1578506"/>
                  </a:lnTo>
                  <a:lnTo>
                    <a:pt x="2956221" y="1592764"/>
                  </a:lnTo>
                  <a:lnTo>
                    <a:pt x="2932467" y="1604472"/>
                  </a:lnTo>
                  <a:lnTo>
                    <a:pt x="2928618" y="1632635"/>
                  </a:lnTo>
                  <a:lnTo>
                    <a:pt x="2923455" y="1652004"/>
                  </a:lnTo>
                  <a:lnTo>
                    <a:pt x="2914972" y="1675384"/>
                  </a:lnTo>
                  <a:lnTo>
                    <a:pt x="2877308" y="1747841"/>
                  </a:lnTo>
                  <a:lnTo>
                    <a:pt x="2872300" y="1760317"/>
                  </a:lnTo>
                  <a:lnTo>
                    <a:pt x="2872142" y="1760712"/>
                  </a:lnTo>
                  <a:lnTo>
                    <a:pt x="2870169" y="1759796"/>
                  </a:lnTo>
                  <a:lnTo>
                    <a:pt x="2815079" y="1753675"/>
                  </a:lnTo>
                  <a:lnTo>
                    <a:pt x="2750051" y="1761626"/>
                  </a:lnTo>
                  <a:lnTo>
                    <a:pt x="2733686" y="1759868"/>
                  </a:lnTo>
                  <a:lnTo>
                    <a:pt x="2715320" y="1750772"/>
                  </a:lnTo>
                  <a:lnTo>
                    <a:pt x="2681081" y="1726882"/>
                  </a:lnTo>
                  <a:lnTo>
                    <a:pt x="2647389" y="1720559"/>
                  </a:lnTo>
                  <a:lnTo>
                    <a:pt x="2620661" y="1715537"/>
                  </a:lnTo>
                  <a:lnTo>
                    <a:pt x="2575569" y="1696437"/>
                  </a:lnTo>
                  <a:lnTo>
                    <a:pt x="2537371" y="1661772"/>
                  </a:lnTo>
                  <a:lnTo>
                    <a:pt x="2516939" y="1609327"/>
                  </a:lnTo>
                  <a:lnTo>
                    <a:pt x="2507601" y="1573619"/>
                  </a:lnTo>
                  <a:lnTo>
                    <a:pt x="2489222" y="1561410"/>
                  </a:lnTo>
                  <a:lnTo>
                    <a:pt x="2466130" y="1557912"/>
                  </a:lnTo>
                  <a:lnTo>
                    <a:pt x="2443002" y="1548614"/>
                  </a:lnTo>
                  <a:lnTo>
                    <a:pt x="2432401" y="1540908"/>
                  </a:lnTo>
                  <a:lnTo>
                    <a:pt x="2426160" y="1534433"/>
                  </a:lnTo>
                  <a:lnTo>
                    <a:pt x="2423663" y="1523387"/>
                  </a:lnTo>
                  <a:lnTo>
                    <a:pt x="2424180" y="1502389"/>
                  </a:lnTo>
                  <a:lnTo>
                    <a:pt x="2427426" y="1483606"/>
                  </a:lnTo>
                  <a:lnTo>
                    <a:pt x="2431719" y="1472405"/>
                  </a:lnTo>
                  <a:lnTo>
                    <a:pt x="2434982" y="1460687"/>
                  </a:lnTo>
                  <a:lnTo>
                    <a:pt x="2434908" y="1440680"/>
                  </a:lnTo>
                  <a:lnTo>
                    <a:pt x="2425164" y="1405000"/>
                  </a:lnTo>
                  <a:lnTo>
                    <a:pt x="2407754" y="1392618"/>
                  </a:lnTo>
                  <a:lnTo>
                    <a:pt x="2361024" y="1390316"/>
                  </a:lnTo>
                  <a:lnTo>
                    <a:pt x="2345942" y="1384463"/>
                  </a:lnTo>
                  <a:lnTo>
                    <a:pt x="2339281" y="1376468"/>
                  </a:lnTo>
                  <a:lnTo>
                    <a:pt x="2333345" y="1366169"/>
                  </a:lnTo>
                  <a:lnTo>
                    <a:pt x="2320904" y="1353036"/>
                  </a:lnTo>
                  <a:lnTo>
                    <a:pt x="2308598" y="1346592"/>
                  </a:lnTo>
                  <a:lnTo>
                    <a:pt x="2282493" y="1341491"/>
                  </a:lnTo>
                  <a:lnTo>
                    <a:pt x="2270857" y="1336515"/>
                  </a:lnTo>
                  <a:lnTo>
                    <a:pt x="2287406" y="1320554"/>
                  </a:lnTo>
                  <a:lnTo>
                    <a:pt x="2287747" y="1305683"/>
                  </a:lnTo>
                  <a:lnTo>
                    <a:pt x="2280294" y="1290189"/>
                  </a:lnTo>
                  <a:lnTo>
                    <a:pt x="2273346" y="1271972"/>
                  </a:lnTo>
                  <a:lnTo>
                    <a:pt x="2267160" y="1234348"/>
                  </a:lnTo>
                  <a:lnTo>
                    <a:pt x="2262633" y="1215703"/>
                  </a:lnTo>
                  <a:lnTo>
                    <a:pt x="2255548" y="1199456"/>
                  </a:lnTo>
                  <a:lnTo>
                    <a:pt x="2267682" y="1171158"/>
                  </a:lnTo>
                  <a:lnTo>
                    <a:pt x="2335381" y="1134624"/>
                  </a:lnTo>
                  <a:lnTo>
                    <a:pt x="2359439" y="1102917"/>
                  </a:lnTo>
                  <a:lnTo>
                    <a:pt x="2360117" y="1080674"/>
                  </a:lnTo>
                  <a:lnTo>
                    <a:pt x="2390899" y="1064751"/>
                  </a:lnTo>
                  <a:lnTo>
                    <a:pt x="2490134" y="1020891"/>
                  </a:lnTo>
                  <a:lnTo>
                    <a:pt x="2556686" y="957869"/>
                  </a:lnTo>
                  <a:lnTo>
                    <a:pt x="2575476" y="949605"/>
                  </a:lnTo>
                  <a:lnTo>
                    <a:pt x="2598148" y="946266"/>
                  </a:lnTo>
                  <a:lnTo>
                    <a:pt x="2624602" y="946829"/>
                  </a:lnTo>
                  <a:close/>
                  <a:moveTo>
                    <a:pt x="2417766" y="0"/>
                  </a:moveTo>
                  <a:lnTo>
                    <a:pt x="2414270" y="7383"/>
                  </a:lnTo>
                  <a:lnTo>
                    <a:pt x="2411198" y="24698"/>
                  </a:lnTo>
                  <a:lnTo>
                    <a:pt x="2407171" y="37495"/>
                  </a:lnTo>
                  <a:lnTo>
                    <a:pt x="2400021" y="47145"/>
                  </a:lnTo>
                  <a:lnTo>
                    <a:pt x="2396239" y="58438"/>
                  </a:lnTo>
                  <a:lnTo>
                    <a:pt x="2401978" y="76462"/>
                  </a:lnTo>
                  <a:lnTo>
                    <a:pt x="2412701" y="86323"/>
                  </a:lnTo>
                  <a:lnTo>
                    <a:pt x="2424606" y="84679"/>
                  </a:lnTo>
                  <a:lnTo>
                    <a:pt x="2449220" y="72203"/>
                  </a:lnTo>
                  <a:lnTo>
                    <a:pt x="2473134" y="69085"/>
                  </a:lnTo>
                  <a:lnTo>
                    <a:pt x="2536195" y="83439"/>
                  </a:lnTo>
                  <a:lnTo>
                    <a:pt x="2554787" y="80646"/>
                  </a:lnTo>
                  <a:lnTo>
                    <a:pt x="2597976" y="64622"/>
                  </a:lnTo>
                  <a:lnTo>
                    <a:pt x="2615920" y="68365"/>
                  </a:lnTo>
                  <a:lnTo>
                    <a:pt x="2620900" y="77791"/>
                  </a:lnTo>
                  <a:lnTo>
                    <a:pt x="2631926" y="112584"/>
                  </a:lnTo>
                  <a:lnTo>
                    <a:pt x="2637771" y="125971"/>
                  </a:lnTo>
                  <a:lnTo>
                    <a:pt x="2646479" y="136703"/>
                  </a:lnTo>
                  <a:lnTo>
                    <a:pt x="2678795" y="163368"/>
                  </a:lnTo>
                  <a:lnTo>
                    <a:pt x="2694113" y="171141"/>
                  </a:lnTo>
                  <a:lnTo>
                    <a:pt x="2716645" y="171971"/>
                  </a:lnTo>
                  <a:lnTo>
                    <a:pt x="2739796" y="167671"/>
                  </a:lnTo>
                  <a:lnTo>
                    <a:pt x="2756973" y="160240"/>
                  </a:lnTo>
                  <a:lnTo>
                    <a:pt x="2767515" y="150991"/>
                  </a:lnTo>
                  <a:lnTo>
                    <a:pt x="2795320" y="200413"/>
                  </a:lnTo>
                  <a:lnTo>
                    <a:pt x="2817728" y="221339"/>
                  </a:lnTo>
                  <a:lnTo>
                    <a:pt x="2856135" y="248079"/>
                  </a:lnTo>
                  <a:lnTo>
                    <a:pt x="2866070" y="259426"/>
                  </a:lnTo>
                  <a:lnTo>
                    <a:pt x="2869742" y="267355"/>
                  </a:lnTo>
                  <a:lnTo>
                    <a:pt x="2868485" y="274912"/>
                  </a:lnTo>
                  <a:lnTo>
                    <a:pt x="2863611" y="287475"/>
                  </a:lnTo>
                  <a:lnTo>
                    <a:pt x="2864515" y="300838"/>
                  </a:lnTo>
                  <a:lnTo>
                    <a:pt x="2868773" y="319783"/>
                  </a:lnTo>
                  <a:lnTo>
                    <a:pt x="2889586" y="374254"/>
                  </a:lnTo>
                  <a:lnTo>
                    <a:pt x="2892054" y="384523"/>
                  </a:lnTo>
                  <a:lnTo>
                    <a:pt x="2889614" y="391016"/>
                  </a:lnTo>
                  <a:lnTo>
                    <a:pt x="2884231" y="402949"/>
                  </a:lnTo>
                  <a:lnTo>
                    <a:pt x="2876625" y="415904"/>
                  </a:lnTo>
                  <a:lnTo>
                    <a:pt x="2854914" y="443195"/>
                  </a:lnTo>
                  <a:lnTo>
                    <a:pt x="2843265" y="462253"/>
                  </a:lnTo>
                  <a:lnTo>
                    <a:pt x="2819443" y="512704"/>
                  </a:lnTo>
                  <a:lnTo>
                    <a:pt x="2811657" y="524480"/>
                  </a:lnTo>
                  <a:lnTo>
                    <a:pt x="2802687" y="534736"/>
                  </a:lnTo>
                  <a:lnTo>
                    <a:pt x="2793052" y="543130"/>
                  </a:lnTo>
                  <a:lnTo>
                    <a:pt x="2781663" y="550415"/>
                  </a:lnTo>
                  <a:lnTo>
                    <a:pt x="2768983" y="555501"/>
                  </a:lnTo>
                  <a:lnTo>
                    <a:pt x="2714772" y="560662"/>
                  </a:lnTo>
                  <a:lnTo>
                    <a:pt x="2703817" y="563617"/>
                  </a:lnTo>
                  <a:lnTo>
                    <a:pt x="2695583" y="567431"/>
                  </a:lnTo>
                  <a:lnTo>
                    <a:pt x="2689177" y="575767"/>
                  </a:lnTo>
                  <a:lnTo>
                    <a:pt x="2680995" y="590430"/>
                  </a:lnTo>
                  <a:lnTo>
                    <a:pt x="2670593" y="620273"/>
                  </a:lnTo>
                  <a:lnTo>
                    <a:pt x="2659410" y="637755"/>
                  </a:lnTo>
                  <a:lnTo>
                    <a:pt x="2645764" y="651088"/>
                  </a:lnTo>
                  <a:lnTo>
                    <a:pt x="2631669" y="658489"/>
                  </a:lnTo>
                  <a:lnTo>
                    <a:pt x="2610391" y="666103"/>
                  </a:lnTo>
                  <a:lnTo>
                    <a:pt x="2574389" y="670927"/>
                  </a:lnTo>
                  <a:lnTo>
                    <a:pt x="2557824" y="669800"/>
                  </a:lnTo>
                  <a:lnTo>
                    <a:pt x="2543017" y="664995"/>
                  </a:lnTo>
                  <a:lnTo>
                    <a:pt x="2518359" y="650898"/>
                  </a:lnTo>
                  <a:lnTo>
                    <a:pt x="2505411" y="648083"/>
                  </a:lnTo>
                  <a:lnTo>
                    <a:pt x="2489322" y="650186"/>
                  </a:lnTo>
                  <a:lnTo>
                    <a:pt x="2450333" y="673444"/>
                  </a:lnTo>
                  <a:lnTo>
                    <a:pt x="2326352" y="715879"/>
                  </a:lnTo>
                  <a:lnTo>
                    <a:pt x="2292520" y="714104"/>
                  </a:lnTo>
                  <a:lnTo>
                    <a:pt x="2277024" y="717306"/>
                  </a:lnTo>
                  <a:lnTo>
                    <a:pt x="2246167" y="732708"/>
                  </a:lnTo>
                  <a:lnTo>
                    <a:pt x="2248039" y="765594"/>
                  </a:lnTo>
                  <a:lnTo>
                    <a:pt x="2231617" y="829331"/>
                  </a:lnTo>
                  <a:lnTo>
                    <a:pt x="2228492" y="853278"/>
                  </a:lnTo>
                  <a:lnTo>
                    <a:pt x="2228128" y="883020"/>
                  </a:lnTo>
                  <a:lnTo>
                    <a:pt x="2230470" y="900795"/>
                  </a:lnTo>
                  <a:lnTo>
                    <a:pt x="2235854" y="917769"/>
                  </a:lnTo>
                  <a:lnTo>
                    <a:pt x="2242374" y="928128"/>
                  </a:lnTo>
                  <a:lnTo>
                    <a:pt x="2260479" y="943373"/>
                  </a:lnTo>
                  <a:lnTo>
                    <a:pt x="2268739" y="952375"/>
                  </a:lnTo>
                  <a:lnTo>
                    <a:pt x="2277477" y="975075"/>
                  </a:lnTo>
                  <a:lnTo>
                    <a:pt x="2281056" y="991434"/>
                  </a:lnTo>
                  <a:lnTo>
                    <a:pt x="2283206" y="1052353"/>
                  </a:lnTo>
                  <a:lnTo>
                    <a:pt x="2282181" y="1059440"/>
                  </a:lnTo>
                  <a:lnTo>
                    <a:pt x="2282059" y="1060282"/>
                  </a:lnTo>
                  <a:lnTo>
                    <a:pt x="2263285" y="1063681"/>
                  </a:lnTo>
                  <a:lnTo>
                    <a:pt x="2150146" y="1120497"/>
                  </a:lnTo>
                  <a:lnTo>
                    <a:pt x="2071064" y="1122901"/>
                  </a:lnTo>
                  <a:lnTo>
                    <a:pt x="2021855" y="1138980"/>
                  </a:lnTo>
                  <a:lnTo>
                    <a:pt x="1974296" y="1163638"/>
                  </a:lnTo>
                  <a:lnTo>
                    <a:pt x="1935440" y="1193403"/>
                  </a:lnTo>
                  <a:lnTo>
                    <a:pt x="1884967" y="1200471"/>
                  </a:lnTo>
                  <a:lnTo>
                    <a:pt x="1872544" y="1208126"/>
                  </a:lnTo>
                  <a:lnTo>
                    <a:pt x="1850402" y="1225532"/>
                  </a:lnTo>
                  <a:lnTo>
                    <a:pt x="1837500" y="1228252"/>
                  </a:lnTo>
                  <a:lnTo>
                    <a:pt x="1816911" y="1219927"/>
                  </a:lnTo>
                  <a:lnTo>
                    <a:pt x="1781592" y="1192454"/>
                  </a:lnTo>
                  <a:lnTo>
                    <a:pt x="1760552" y="1189820"/>
                  </a:lnTo>
                  <a:lnTo>
                    <a:pt x="1752160" y="1190812"/>
                  </a:lnTo>
                  <a:lnTo>
                    <a:pt x="1743811" y="1189874"/>
                  </a:lnTo>
                  <a:lnTo>
                    <a:pt x="1742445" y="1189429"/>
                  </a:lnTo>
                  <a:lnTo>
                    <a:pt x="1741872" y="1189416"/>
                  </a:lnTo>
                  <a:lnTo>
                    <a:pt x="1685060" y="1176480"/>
                  </a:lnTo>
                  <a:lnTo>
                    <a:pt x="1658650" y="1178361"/>
                  </a:lnTo>
                  <a:lnTo>
                    <a:pt x="1626234" y="1187076"/>
                  </a:lnTo>
                  <a:lnTo>
                    <a:pt x="1626120" y="1187073"/>
                  </a:lnTo>
                  <a:lnTo>
                    <a:pt x="1625887" y="1187235"/>
                  </a:lnTo>
                  <a:lnTo>
                    <a:pt x="1625772" y="1187232"/>
                  </a:lnTo>
                  <a:lnTo>
                    <a:pt x="1615214" y="1192622"/>
                  </a:lnTo>
                  <a:lnTo>
                    <a:pt x="1604740" y="1194315"/>
                  </a:lnTo>
                  <a:lnTo>
                    <a:pt x="1594698" y="1192231"/>
                  </a:lnTo>
                  <a:lnTo>
                    <a:pt x="1585549" y="1186295"/>
                  </a:lnTo>
                  <a:lnTo>
                    <a:pt x="1579890" y="1178263"/>
                  </a:lnTo>
                  <a:lnTo>
                    <a:pt x="1573616" y="1172021"/>
                  </a:lnTo>
                  <a:lnTo>
                    <a:pt x="1566497" y="1167608"/>
                  </a:lnTo>
                  <a:lnTo>
                    <a:pt x="1547132" y="1162480"/>
                  </a:lnTo>
                  <a:lnTo>
                    <a:pt x="1535958" y="1164774"/>
                  </a:lnTo>
                  <a:lnTo>
                    <a:pt x="1525923" y="1172058"/>
                  </a:lnTo>
                  <a:lnTo>
                    <a:pt x="1517139" y="1184491"/>
                  </a:lnTo>
                  <a:lnTo>
                    <a:pt x="1517020" y="1184655"/>
                  </a:lnTo>
                  <a:lnTo>
                    <a:pt x="1478418" y="1220318"/>
                  </a:lnTo>
                  <a:lnTo>
                    <a:pt x="1444527" y="1217748"/>
                  </a:lnTo>
                  <a:lnTo>
                    <a:pt x="1410451" y="1199986"/>
                  </a:lnTo>
                  <a:lnTo>
                    <a:pt x="1371133" y="1190316"/>
                  </a:lnTo>
                  <a:lnTo>
                    <a:pt x="1293086" y="1201281"/>
                  </a:lnTo>
                  <a:lnTo>
                    <a:pt x="1215603" y="1224213"/>
                  </a:lnTo>
                  <a:lnTo>
                    <a:pt x="1195437" y="1235584"/>
                  </a:lnTo>
                  <a:lnTo>
                    <a:pt x="1121605" y="1305199"/>
                  </a:lnTo>
                  <a:lnTo>
                    <a:pt x="1111849" y="1324925"/>
                  </a:lnTo>
                  <a:lnTo>
                    <a:pt x="1098489" y="1381745"/>
                  </a:lnTo>
                  <a:lnTo>
                    <a:pt x="1076125" y="1431242"/>
                  </a:lnTo>
                  <a:lnTo>
                    <a:pt x="1075025" y="1437429"/>
                  </a:lnTo>
                  <a:lnTo>
                    <a:pt x="1075798" y="1454351"/>
                  </a:lnTo>
                  <a:lnTo>
                    <a:pt x="1073606" y="1462441"/>
                  </a:lnTo>
                  <a:lnTo>
                    <a:pt x="1068625" y="1467551"/>
                  </a:lnTo>
                  <a:lnTo>
                    <a:pt x="1056160" y="1472775"/>
                  </a:lnTo>
                  <a:lnTo>
                    <a:pt x="1051432" y="1477005"/>
                  </a:lnTo>
                  <a:lnTo>
                    <a:pt x="1025211" y="1519103"/>
                  </a:lnTo>
                  <a:lnTo>
                    <a:pt x="1009191" y="1535057"/>
                  </a:lnTo>
                  <a:lnTo>
                    <a:pt x="993247" y="1536804"/>
                  </a:lnTo>
                  <a:lnTo>
                    <a:pt x="974570" y="1529894"/>
                  </a:lnTo>
                  <a:lnTo>
                    <a:pt x="935917" y="1524877"/>
                  </a:lnTo>
                  <a:lnTo>
                    <a:pt x="916737" y="1526976"/>
                  </a:lnTo>
                  <a:lnTo>
                    <a:pt x="879183" y="1538409"/>
                  </a:lnTo>
                  <a:lnTo>
                    <a:pt x="868112" y="1538897"/>
                  </a:lnTo>
                  <a:lnTo>
                    <a:pt x="856871" y="1533792"/>
                  </a:lnTo>
                  <a:lnTo>
                    <a:pt x="838408" y="1516847"/>
                  </a:lnTo>
                  <a:lnTo>
                    <a:pt x="828566" y="1511318"/>
                  </a:lnTo>
                  <a:lnTo>
                    <a:pt x="817185" y="1510783"/>
                  </a:lnTo>
                  <a:lnTo>
                    <a:pt x="795827" y="1516142"/>
                  </a:lnTo>
                  <a:lnTo>
                    <a:pt x="784912" y="1515370"/>
                  </a:lnTo>
                  <a:lnTo>
                    <a:pt x="753533" y="1496091"/>
                  </a:lnTo>
                  <a:lnTo>
                    <a:pt x="740796" y="1491336"/>
                  </a:lnTo>
                  <a:lnTo>
                    <a:pt x="717090" y="1497988"/>
                  </a:lnTo>
                  <a:lnTo>
                    <a:pt x="705145" y="1497165"/>
                  </a:lnTo>
                  <a:lnTo>
                    <a:pt x="698950" y="1482705"/>
                  </a:lnTo>
                  <a:lnTo>
                    <a:pt x="704392" y="1474863"/>
                  </a:lnTo>
                  <a:lnTo>
                    <a:pt x="729777" y="1455571"/>
                  </a:lnTo>
                  <a:lnTo>
                    <a:pt x="735552" y="1444497"/>
                  </a:lnTo>
                  <a:lnTo>
                    <a:pt x="725292" y="1427719"/>
                  </a:lnTo>
                  <a:lnTo>
                    <a:pt x="642005" y="1373766"/>
                  </a:lnTo>
                  <a:lnTo>
                    <a:pt x="625051" y="1368644"/>
                  </a:lnTo>
                  <a:lnTo>
                    <a:pt x="605339" y="1370144"/>
                  </a:lnTo>
                  <a:lnTo>
                    <a:pt x="491227" y="1397333"/>
                  </a:lnTo>
                  <a:lnTo>
                    <a:pt x="445354" y="1390535"/>
                  </a:lnTo>
                  <a:lnTo>
                    <a:pt x="410369" y="1359856"/>
                  </a:lnTo>
                  <a:lnTo>
                    <a:pt x="409008" y="1325072"/>
                  </a:lnTo>
                  <a:lnTo>
                    <a:pt x="424808" y="1270362"/>
                  </a:lnTo>
                  <a:lnTo>
                    <a:pt x="419852" y="1242720"/>
                  </a:lnTo>
                  <a:lnTo>
                    <a:pt x="410429" y="1230513"/>
                  </a:lnTo>
                  <a:lnTo>
                    <a:pt x="373834" y="1199036"/>
                  </a:lnTo>
                  <a:lnTo>
                    <a:pt x="352091" y="1160792"/>
                  </a:lnTo>
                  <a:lnTo>
                    <a:pt x="341103" y="1148008"/>
                  </a:lnTo>
                  <a:lnTo>
                    <a:pt x="341112" y="1147760"/>
                  </a:lnTo>
                  <a:lnTo>
                    <a:pt x="340997" y="1147755"/>
                  </a:lnTo>
                  <a:lnTo>
                    <a:pt x="335301" y="1143708"/>
                  </a:lnTo>
                  <a:lnTo>
                    <a:pt x="329162" y="1142257"/>
                  </a:lnTo>
                  <a:lnTo>
                    <a:pt x="323046" y="1143240"/>
                  </a:lnTo>
                  <a:lnTo>
                    <a:pt x="290153" y="1160522"/>
                  </a:lnTo>
                  <a:lnTo>
                    <a:pt x="260959" y="1191607"/>
                  </a:lnTo>
                  <a:lnTo>
                    <a:pt x="240143" y="1228140"/>
                  </a:lnTo>
                  <a:lnTo>
                    <a:pt x="238389" y="1258475"/>
                  </a:lnTo>
                  <a:lnTo>
                    <a:pt x="210700" y="1258691"/>
                  </a:lnTo>
                  <a:lnTo>
                    <a:pt x="189364" y="1252165"/>
                  </a:lnTo>
                  <a:lnTo>
                    <a:pt x="171227" y="1254808"/>
                  </a:lnTo>
                  <a:lnTo>
                    <a:pt x="153235" y="1282643"/>
                  </a:lnTo>
                  <a:lnTo>
                    <a:pt x="147136" y="1303006"/>
                  </a:lnTo>
                  <a:lnTo>
                    <a:pt x="145672" y="1316656"/>
                  </a:lnTo>
                  <a:lnTo>
                    <a:pt x="142192" y="1328965"/>
                  </a:lnTo>
                  <a:lnTo>
                    <a:pt x="130165" y="1345096"/>
                  </a:lnTo>
                  <a:lnTo>
                    <a:pt x="80718" y="1367855"/>
                  </a:lnTo>
                  <a:lnTo>
                    <a:pt x="51677" y="1374865"/>
                  </a:lnTo>
                  <a:lnTo>
                    <a:pt x="44153" y="1374262"/>
                  </a:lnTo>
                  <a:lnTo>
                    <a:pt x="44024" y="1373580"/>
                  </a:lnTo>
                  <a:lnTo>
                    <a:pt x="43173" y="1369087"/>
                  </a:lnTo>
                  <a:lnTo>
                    <a:pt x="25324" y="1315270"/>
                  </a:lnTo>
                  <a:lnTo>
                    <a:pt x="1914" y="1272826"/>
                  </a:lnTo>
                  <a:lnTo>
                    <a:pt x="0" y="1256719"/>
                  </a:lnTo>
                  <a:lnTo>
                    <a:pt x="4187" y="1243060"/>
                  </a:lnTo>
                  <a:lnTo>
                    <a:pt x="19206" y="1225686"/>
                  </a:lnTo>
                  <a:lnTo>
                    <a:pt x="33296" y="1213990"/>
                  </a:lnTo>
                  <a:lnTo>
                    <a:pt x="46073" y="1197867"/>
                  </a:lnTo>
                  <a:lnTo>
                    <a:pt x="53948" y="1178006"/>
                  </a:lnTo>
                  <a:lnTo>
                    <a:pt x="58031" y="1149823"/>
                  </a:lnTo>
                  <a:lnTo>
                    <a:pt x="58233" y="1132340"/>
                  </a:lnTo>
                  <a:lnTo>
                    <a:pt x="55727" y="1109565"/>
                  </a:lnTo>
                  <a:lnTo>
                    <a:pt x="55336" y="1089822"/>
                  </a:lnTo>
                  <a:lnTo>
                    <a:pt x="58441" y="1064467"/>
                  </a:lnTo>
                  <a:lnTo>
                    <a:pt x="73970" y="1000165"/>
                  </a:lnTo>
                  <a:lnTo>
                    <a:pt x="86529" y="970274"/>
                  </a:lnTo>
                  <a:lnTo>
                    <a:pt x="132082" y="906781"/>
                  </a:lnTo>
                  <a:lnTo>
                    <a:pt x="150151" y="867091"/>
                  </a:lnTo>
                  <a:lnTo>
                    <a:pt x="154195" y="821922"/>
                  </a:lnTo>
                  <a:lnTo>
                    <a:pt x="153985" y="805844"/>
                  </a:lnTo>
                  <a:lnTo>
                    <a:pt x="143755" y="732336"/>
                  </a:lnTo>
                  <a:lnTo>
                    <a:pt x="127454" y="684881"/>
                  </a:lnTo>
                  <a:lnTo>
                    <a:pt x="198790" y="679035"/>
                  </a:lnTo>
                  <a:lnTo>
                    <a:pt x="223195" y="670630"/>
                  </a:lnTo>
                  <a:lnTo>
                    <a:pt x="273696" y="642213"/>
                  </a:lnTo>
                  <a:lnTo>
                    <a:pt x="295981" y="623312"/>
                  </a:lnTo>
                  <a:lnTo>
                    <a:pt x="316816" y="597371"/>
                  </a:lnTo>
                  <a:lnTo>
                    <a:pt x="343168" y="548976"/>
                  </a:lnTo>
                  <a:lnTo>
                    <a:pt x="350154" y="539025"/>
                  </a:lnTo>
                  <a:lnTo>
                    <a:pt x="361819" y="531771"/>
                  </a:lnTo>
                  <a:lnTo>
                    <a:pt x="385322" y="524549"/>
                  </a:lnTo>
                  <a:lnTo>
                    <a:pt x="395000" y="518526"/>
                  </a:lnTo>
                  <a:lnTo>
                    <a:pt x="414219" y="494813"/>
                  </a:lnTo>
                  <a:lnTo>
                    <a:pt x="431470" y="462535"/>
                  </a:lnTo>
                  <a:lnTo>
                    <a:pt x="442825" y="426373"/>
                  </a:lnTo>
                  <a:lnTo>
                    <a:pt x="443892" y="391510"/>
                  </a:lnTo>
                  <a:lnTo>
                    <a:pt x="440098" y="371229"/>
                  </a:lnTo>
                  <a:lnTo>
                    <a:pt x="434730" y="356688"/>
                  </a:lnTo>
                  <a:lnTo>
                    <a:pt x="425703" y="345840"/>
                  </a:lnTo>
                  <a:lnTo>
                    <a:pt x="410587" y="336816"/>
                  </a:lnTo>
                  <a:lnTo>
                    <a:pt x="424131" y="272442"/>
                  </a:lnTo>
                  <a:lnTo>
                    <a:pt x="426055" y="257459"/>
                  </a:lnTo>
                  <a:lnTo>
                    <a:pt x="419482" y="239003"/>
                  </a:lnTo>
                  <a:lnTo>
                    <a:pt x="410638" y="220715"/>
                  </a:lnTo>
                  <a:lnTo>
                    <a:pt x="409579" y="206632"/>
                  </a:lnTo>
                  <a:lnTo>
                    <a:pt x="426250" y="200740"/>
                  </a:lnTo>
                  <a:lnTo>
                    <a:pt x="444724" y="198110"/>
                  </a:lnTo>
                  <a:lnTo>
                    <a:pt x="453230" y="195105"/>
                  </a:lnTo>
                  <a:lnTo>
                    <a:pt x="456969" y="198268"/>
                  </a:lnTo>
                  <a:lnTo>
                    <a:pt x="461278" y="213607"/>
                  </a:lnTo>
                  <a:lnTo>
                    <a:pt x="459682" y="219942"/>
                  </a:lnTo>
                  <a:lnTo>
                    <a:pt x="454067" y="227556"/>
                  </a:lnTo>
                  <a:lnTo>
                    <a:pt x="449604" y="237733"/>
                  </a:lnTo>
                  <a:lnTo>
                    <a:pt x="451012" y="251748"/>
                  </a:lnTo>
                  <a:lnTo>
                    <a:pt x="456516" y="259433"/>
                  </a:lnTo>
                  <a:lnTo>
                    <a:pt x="465235" y="266151"/>
                  </a:lnTo>
                  <a:lnTo>
                    <a:pt x="482063" y="274675"/>
                  </a:lnTo>
                  <a:lnTo>
                    <a:pt x="528517" y="283524"/>
                  </a:lnTo>
                  <a:lnTo>
                    <a:pt x="541526" y="281723"/>
                  </a:lnTo>
                  <a:lnTo>
                    <a:pt x="555875" y="270973"/>
                  </a:lnTo>
                  <a:lnTo>
                    <a:pt x="579207" y="240651"/>
                  </a:lnTo>
                  <a:lnTo>
                    <a:pt x="594770" y="230565"/>
                  </a:lnTo>
                  <a:lnTo>
                    <a:pt x="621275" y="231838"/>
                  </a:lnTo>
                  <a:lnTo>
                    <a:pt x="764155" y="291743"/>
                  </a:lnTo>
                  <a:lnTo>
                    <a:pt x="768406" y="297013"/>
                  </a:lnTo>
                  <a:lnTo>
                    <a:pt x="771755" y="305535"/>
                  </a:lnTo>
                  <a:lnTo>
                    <a:pt x="776943" y="313443"/>
                  </a:lnTo>
                  <a:lnTo>
                    <a:pt x="786263" y="316614"/>
                  </a:lnTo>
                  <a:lnTo>
                    <a:pt x="818835" y="313736"/>
                  </a:lnTo>
                  <a:lnTo>
                    <a:pt x="863731" y="294852"/>
                  </a:lnTo>
                  <a:lnTo>
                    <a:pt x="879411" y="290901"/>
                  </a:lnTo>
                  <a:lnTo>
                    <a:pt x="894573" y="292435"/>
                  </a:lnTo>
                  <a:lnTo>
                    <a:pt x="906042" y="299443"/>
                  </a:lnTo>
                  <a:lnTo>
                    <a:pt x="930622" y="319270"/>
                  </a:lnTo>
                  <a:lnTo>
                    <a:pt x="921081" y="330147"/>
                  </a:lnTo>
                  <a:lnTo>
                    <a:pt x="884907" y="353258"/>
                  </a:lnTo>
                  <a:lnTo>
                    <a:pt x="891986" y="366389"/>
                  </a:lnTo>
                  <a:lnTo>
                    <a:pt x="947691" y="394467"/>
                  </a:lnTo>
                  <a:lnTo>
                    <a:pt x="1000719" y="455469"/>
                  </a:lnTo>
                  <a:lnTo>
                    <a:pt x="1003788" y="462961"/>
                  </a:lnTo>
                  <a:lnTo>
                    <a:pt x="1003796" y="473891"/>
                  </a:lnTo>
                  <a:lnTo>
                    <a:pt x="1000952" y="485069"/>
                  </a:lnTo>
                  <a:lnTo>
                    <a:pt x="997199" y="492440"/>
                  </a:lnTo>
                  <a:lnTo>
                    <a:pt x="994580" y="492527"/>
                  </a:lnTo>
                  <a:lnTo>
                    <a:pt x="1005163" y="514878"/>
                  </a:lnTo>
                  <a:lnTo>
                    <a:pt x="1020240" y="524337"/>
                  </a:lnTo>
                  <a:lnTo>
                    <a:pt x="1134933" y="529426"/>
                  </a:lnTo>
                  <a:lnTo>
                    <a:pt x="1156615" y="523449"/>
                  </a:lnTo>
                  <a:lnTo>
                    <a:pt x="1229874" y="475593"/>
                  </a:lnTo>
                  <a:lnTo>
                    <a:pt x="1257815" y="468761"/>
                  </a:lnTo>
                  <a:lnTo>
                    <a:pt x="1281077" y="479069"/>
                  </a:lnTo>
                  <a:lnTo>
                    <a:pt x="1277483" y="523187"/>
                  </a:lnTo>
                  <a:lnTo>
                    <a:pt x="1303784" y="526931"/>
                  </a:lnTo>
                  <a:lnTo>
                    <a:pt x="1328073" y="516569"/>
                  </a:lnTo>
                  <a:lnTo>
                    <a:pt x="1344212" y="500102"/>
                  </a:lnTo>
                  <a:lnTo>
                    <a:pt x="1359283" y="480829"/>
                  </a:lnTo>
                  <a:lnTo>
                    <a:pt x="1381054" y="461562"/>
                  </a:lnTo>
                  <a:lnTo>
                    <a:pt x="1401678" y="455547"/>
                  </a:lnTo>
                  <a:lnTo>
                    <a:pt x="1449430" y="455636"/>
                  </a:lnTo>
                  <a:lnTo>
                    <a:pt x="1467463" y="448397"/>
                  </a:lnTo>
                  <a:lnTo>
                    <a:pt x="1477296" y="432504"/>
                  </a:lnTo>
                  <a:lnTo>
                    <a:pt x="1473396" y="420305"/>
                  </a:lnTo>
                  <a:lnTo>
                    <a:pt x="1461668" y="412148"/>
                  </a:lnTo>
                  <a:lnTo>
                    <a:pt x="1448248" y="408109"/>
                  </a:lnTo>
                  <a:lnTo>
                    <a:pt x="1501513" y="349639"/>
                  </a:lnTo>
                  <a:lnTo>
                    <a:pt x="1526624" y="344369"/>
                  </a:lnTo>
                  <a:lnTo>
                    <a:pt x="1553542" y="348722"/>
                  </a:lnTo>
                  <a:lnTo>
                    <a:pt x="1578208" y="357221"/>
                  </a:lnTo>
                  <a:lnTo>
                    <a:pt x="1629934" y="349866"/>
                  </a:lnTo>
                  <a:lnTo>
                    <a:pt x="1653985" y="340922"/>
                  </a:lnTo>
                  <a:lnTo>
                    <a:pt x="1674463" y="319115"/>
                  </a:lnTo>
                  <a:lnTo>
                    <a:pt x="1680362" y="304209"/>
                  </a:lnTo>
                  <a:lnTo>
                    <a:pt x="1689834" y="266765"/>
                  </a:lnTo>
                  <a:lnTo>
                    <a:pt x="1697703" y="249711"/>
                  </a:lnTo>
                  <a:lnTo>
                    <a:pt x="1728899" y="223758"/>
                  </a:lnTo>
                  <a:lnTo>
                    <a:pt x="1732743" y="219140"/>
                  </a:lnTo>
                  <a:lnTo>
                    <a:pt x="1753011" y="220256"/>
                  </a:lnTo>
                  <a:lnTo>
                    <a:pt x="1800627" y="230865"/>
                  </a:lnTo>
                  <a:lnTo>
                    <a:pt x="1889924" y="233101"/>
                  </a:lnTo>
                  <a:lnTo>
                    <a:pt x="1951443" y="247063"/>
                  </a:lnTo>
                  <a:lnTo>
                    <a:pt x="1962851" y="243501"/>
                  </a:lnTo>
                  <a:lnTo>
                    <a:pt x="1974379" y="216070"/>
                  </a:lnTo>
                  <a:lnTo>
                    <a:pt x="1986871" y="208915"/>
                  </a:lnTo>
                  <a:lnTo>
                    <a:pt x="2079212" y="191807"/>
                  </a:lnTo>
                  <a:lnTo>
                    <a:pt x="2330874" y="206984"/>
                  </a:lnTo>
                  <a:lnTo>
                    <a:pt x="2339625" y="205310"/>
                  </a:lnTo>
                  <a:lnTo>
                    <a:pt x="2371484" y="165524"/>
                  </a:lnTo>
                  <a:lnTo>
                    <a:pt x="2375598" y="155205"/>
                  </a:lnTo>
                  <a:lnTo>
                    <a:pt x="2376952" y="140013"/>
                  </a:lnTo>
                  <a:lnTo>
                    <a:pt x="2375774" y="96550"/>
                  </a:lnTo>
                  <a:lnTo>
                    <a:pt x="2372849" y="87555"/>
                  </a:lnTo>
                  <a:lnTo>
                    <a:pt x="2367360" y="83734"/>
                  </a:lnTo>
                  <a:lnTo>
                    <a:pt x="2358554" y="74695"/>
                  </a:lnTo>
                  <a:lnTo>
                    <a:pt x="2350681" y="63908"/>
                  </a:lnTo>
                  <a:lnTo>
                    <a:pt x="2347309" y="54862"/>
                  </a:lnTo>
                  <a:lnTo>
                    <a:pt x="2345358" y="41556"/>
                  </a:lnTo>
                  <a:lnTo>
                    <a:pt x="2362764" y="34755"/>
                  </a:lnTo>
                  <a:lnTo>
                    <a:pt x="2389428" y="13126"/>
                  </a:lnTo>
                  <a:lnTo>
                    <a:pt x="2399009" y="7296"/>
                  </a:lnTo>
                  <a:lnTo>
                    <a:pt x="2415046" y="508"/>
                  </a:lnTo>
                  <a:close/>
                </a:path>
              </a:pathLst>
            </a:custGeom>
            <a:solidFill>
              <a:srgbClr val="DDDDDD"/>
            </a:solidFill>
            <a:ln w="3175" cap="rnd">
              <a:solidFill>
                <a:srgbClr val="C0C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IE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2" name="Freeform 10">
              <a:extLst>
                <a:ext uri="{FF2B5EF4-FFF2-40B4-BE49-F238E27FC236}">
                  <a16:creationId xmlns:a16="http://schemas.microsoft.com/office/drawing/2014/main" id="{D1089A74-A2E9-2060-ED0C-85B6B0810F41}"/>
                </a:ext>
              </a:extLst>
            </p:cNvPr>
            <p:cNvSpPr>
              <a:spLocks noChangeAspect="1"/>
            </p:cNvSpPr>
            <p:nvPr>
              <p:custDataLst>
                <p:tags r:id="rId8"/>
              </p:custDataLst>
            </p:nvPr>
          </p:nvSpPr>
          <p:spPr>
            <a:xfrm>
              <a:off x="5788960" y="1789431"/>
              <a:ext cx="2858023" cy="2510779"/>
            </a:xfrm>
            <a:custGeom>
              <a:avLst/>
              <a:gdLst/>
              <a:ahLst/>
              <a:cxnLst/>
              <a:rect l="l" t="t" r="r" b="b"/>
              <a:pathLst>
                <a:path w="2858023" h="2510779">
                  <a:moveTo>
                    <a:pt x="2142206" y="1058037"/>
                  </a:moveTo>
                  <a:lnTo>
                    <a:pt x="2138867" y="1070954"/>
                  </a:lnTo>
                  <a:lnTo>
                    <a:pt x="2130449" y="1078603"/>
                  </a:lnTo>
                  <a:lnTo>
                    <a:pt x="2112179" y="1084543"/>
                  </a:lnTo>
                  <a:lnTo>
                    <a:pt x="2074714" y="1104517"/>
                  </a:lnTo>
                  <a:lnTo>
                    <a:pt x="2003872" y="1154693"/>
                  </a:lnTo>
                  <a:lnTo>
                    <a:pt x="1998361" y="1164235"/>
                  </a:lnTo>
                  <a:lnTo>
                    <a:pt x="1986219" y="1176052"/>
                  </a:lnTo>
                  <a:lnTo>
                    <a:pt x="1977566" y="1182520"/>
                  </a:lnTo>
                  <a:lnTo>
                    <a:pt x="1963958" y="1186821"/>
                  </a:lnTo>
                  <a:lnTo>
                    <a:pt x="1949430" y="1189050"/>
                  </a:lnTo>
                  <a:lnTo>
                    <a:pt x="1922736" y="1177264"/>
                  </a:lnTo>
                  <a:lnTo>
                    <a:pt x="1915011" y="1186292"/>
                  </a:lnTo>
                  <a:lnTo>
                    <a:pt x="1908367" y="1197304"/>
                  </a:lnTo>
                  <a:lnTo>
                    <a:pt x="1905726" y="1203038"/>
                  </a:lnTo>
                  <a:lnTo>
                    <a:pt x="1902654" y="1215345"/>
                  </a:lnTo>
                  <a:lnTo>
                    <a:pt x="1902865" y="1230100"/>
                  </a:lnTo>
                  <a:lnTo>
                    <a:pt x="1912306" y="1244507"/>
                  </a:lnTo>
                  <a:lnTo>
                    <a:pt x="1920868" y="1253272"/>
                  </a:lnTo>
                  <a:lnTo>
                    <a:pt x="1925966" y="1263767"/>
                  </a:lnTo>
                  <a:lnTo>
                    <a:pt x="1929184" y="1273444"/>
                  </a:lnTo>
                  <a:lnTo>
                    <a:pt x="1921680" y="1320185"/>
                  </a:lnTo>
                  <a:lnTo>
                    <a:pt x="1931012" y="1335905"/>
                  </a:lnTo>
                  <a:lnTo>
                    <a:pt x="1938169" y="1342784"/>
                  </a:lnTo>
                  <a:lnTo>
                    <a:pt x="1942758" y="1352999"/>
                  </a:lnTo>
                  <a:lnTo>
                    <a:pt x="1955858" y="1359785"/>
                  </a:lnTo>
                  <a:lnTo>
                    <a:pt x="2022180" y="1363077"/>
                  </a:lnTo>
                  <a:lnTo>
                    <a:pt x="2051044" y="1356497"/>
                  </a:lnTo>
                  <a:lnTo>
                    <a:pt x="2079655" y="1355051"/>
                  </a:lnTo>
                  <a:lnTo>
                    <a:pt x="2094853" y="1364969"/>
                  </a:lnTo>
                  <a:lnTo>
                    <a:pt x="2114698" y="1373024"/>
                  </a:lnTo>
                  <a:lnTo>
                    <a:pt x="2125218" y="1375130"/>
                  </a:lnTo>
                  <a:lnTo>
                    <a:pt x="2149507" y="1374925"/>
                  </a:lnTo>
                  <a:lnTo>
                    <a:pt x="2160450" y="1366541"/>
                  </a:lnTo>
                  <a:lnTo>
                    <a:pt x="2165755" y="1360312"/>
                  </a:lnTo>
                  <a:lnTo>
                    <a:pt x="2168941" y="1351610"/>
                  </a:lnTo>
                  <a:lnTo>
                    <a:pt x="2172082" y="1346014"/>
                  </a:lnTo>
                  <a:lnTo>
                    <a:pt x="2180509" y="1337939"/>
                  </a:lnTo>
                  <a:lnTo>
                    <a:pt x="2196448" y="1332671"/>
                  </a:lnTo>
                  <a:lnTo>
                    <a:pt x="2247136" y="1328082"/>
                  </a:lnTo>
                  <a:lnTo>
                    <a:pt x="2322750" y="1338832"/>
                  </a:lnTo>
                  <a:lnTo>
                    <a:pt x="2297286" y="1290598"/>
                  </a:lnTo>
                  <a:lnTo>
                    <a:pt x="2289097" y="1267640"/>
                  </a:lnTo>
                  <a:lnTo>
                    <a:pt x="2292282" y="1223135"/>
                  </a:lnTo>
                  <a:lnTo>
                    <a:pt x="2299078" y="1188743"/>
                  </a:lnTo>
                  <a:lnTo>
                    <a:pt x="2299703" y="1183582"/>
                  </a:lnTo>
                  <a:lnTo>
                    <a:pt x="2298192" y="1179608"/>
                  </a:lnTo>
                  <a:lnTo>
                    <a:pt x="2295093" y="1173764"/>
                  </a:lnTo>
                  <a:lnTo>
                    <a:pt x="2286535" y="1165924"/>
                  </a:lnTo>
                  <a:lnTo>
                    <a:pt x="2281641" y="1145220"/>
                  </a:lnTo>
                  <a:lnTo>
                    <a:pt x="2277624" y="1133445"/>
                  </a:lnTo>
                  <a:lnTo>
                    <a:pt x="2265876" y="1121439"/>
                  </a:lnTo>
                  <a:lnTo>
                    <a:pt x="2259629" y="1108365"/>
                  </a:lnTo>
                  <a:lnTo>
                    <a:pt x="2247910" y="1098249"/>
                  </a:lnTo>
                  <a:lnTo>
                    <a:pt x="2227614" y="1102527"/>
                  </a:lnTo>
                  <a:lnTo>
                    <a:pt x="2221066" y="1114741"/>
                  </a:lnTo>
                  <a:lnTo>
                    <a:pt x="2218349" y="1122167"/>
                  </a:lnTo>
                  <a:lnTo>
                    <a:pt x="2217533" y="1122709"/>
                  </a:lnTo>
                  <a:lnTo>
                    <a:pt x="2214165" y="1118388"/>
                  </a:lnTo>
                  <a:lnTo>
                    <a:pt x="2182351" y="1067776"/>
                  </a:lnTo>
                  <a:lnTo>
                    <a:pt x="2175831" y="1060054"/>
                  </a:lnTo>
                  <a:close/>
                  <a:moveTo>
                    <a:pt x="593096" y="0"/>
                  </a:moveTo>
                  <a:lnTo>
                    <a:pt x="652851" y="19109"/>
                  </a:lnTo>
                  <a:lnTo>
                    <a:pt x="736021" y="24011"/>
                  </a:lnTo>
                  <a:lnTo>
                    <a:pt x="744392" y="46760"/>
                  </a:lnTo>
                  <a:lnTo>
                    <a:pt x="749439" y="68749"/>
                  </a:lnTo>
                  <a:lnTo>
                    <a:pt x="749523" y="90855"/>
                  </a:lnTo>
                  <a:lnTo>
                    <a:pt x="743011" y="114201"/>
                  </a:lnTo>
                  <a:lnTo>
                    <a:pt x="764212" y="114124"/>
                  </a:lnTo>
                  <a:lnTo>
                    <a:pt x="845111" y="90144"/>
                  </a:lnTo>
                  <a:lnTo>
                    <a:pt x="850540" y="86480"/>
                  </a:lnTo>
                  <a:lnTo>
                    <a:pt x="864875" y="68302"/>
                  </a:lnTo>
                  <a:lnTo>
                    <a:pt x="868189" y="59644"/>
                  </a:lnTo>
                  <a:lnTo>
                    <a:pt x="870284" y="37738"/>
                  </a:lnTo>
                  <a:lnTo>
                    <a:pt x="874416" y="30995"/>
                  </a:lnTo>
                  <a:lnTo>
                    <a:pt x="882573" y="30703"/>
                  </a:lnTo>
                  <a:lnTo>
                    <a:pt x="888146" y="37289"/>
                  </a:lnTo>
                  <a:lnTo>
                    <a:pt x="892763" y="45245"/>
                  </a:lnTo>
                  <a:lnTo>
                    <a:pt x="898150" y="48807"/>
                  </a:lnTo>
                  <a:lnTo>
                    <a:pt x="948120" y="48114"/>
                  </a:lnTo>
                  <a:lnTo>
                    <a:pt x="972121" y="54294"/>
                  </a:lnTo>
                  <a:lnTo>
                    <a:pt x="1024114" y="79137"/>
                  </a:lnTo>
                  <a:lnTo>
                    <a:pt x="1071995" y="93896"/>
                  </a:lnTo>
                  <a:lnTo>
                    <a:pt x="1095315" y="106452"/>
                  </a:lnTo>
                  <a:lnTo>
                    <a:pt x="1149376" y="150832"/>
                  </a:lnTo>
                  <a:lnTo>
                    <a:pt x="1174152" y="159689"/>
                  </a:lnTo>
                  <a:lnTo>
                    <a:pt x="1174162" y="159689"/>
                  </a:lnTo>
                  <a:lnTo>
                    <a:pt x="1238506" y="182643"/>
                  </a:lnTo>
                  <a:lnTo>
                    <a:pt x="1322898" y="227109"/>
                  </a:lnTo>
                  <a:lnTo>
                    <a:pt x="1347057" y="232086"/>
                  </a:lnTo>
                  <a:lnTo>
                    <a:pt x="1371705" y="231325"/>
                  </a:lnTo>
                  <a:lnTo>
                    <a:pt x="1389539" y="225053"/>
                  </a:lnTo>
                  <a:lnTo>
                    <a:pt x="1426910" y="203699"/>
                  </a:lnTo>
                  <a:lnTo>
                    <a:pt x="1436117" y="201135"/>
                  </a:lnTo>
                  <a:lnTo>
                    <a:pt x="1468817" y="200007"/>
                  </a:lnTo>
                  <a:lnTo>
                    <a:pt x="1475157" y="204507"/>
                  </a:lnTo>
                  <a:lnTo>
                    <a:pt x="1480117" y="224363"/>
                  </a:lnTo>
                  <a:lnTo>
                    <a:pt x="1485694" y="232506"/>
                  </a:lnTo>
                  <a:lnTo>
                    <a:pt x="1493090" y="235375"/>
                  </a:lnTo>
                  <a:lnTo>
                    <a:pt x="1513588" y="236221"/>
                  </a:lnTo>
                  <a:lnTo>
                    <a:pt x="1525587" y="244399"/>
                  </a:lnTo>
                  <a:lnTo>
                    <a:pt x="1533666" y="247751"/>
                  </a:lnTo>
                  <a:lnTo>
                    <a:pt x="1542601" y="246866"/>
                  </a:lnTo>
                  <a:lnTo>
                    <a:pt x="1532141" y="261761"/>
                  </a:lnTo>
                  <a:lnTo>
                    <a:pt x="1545522" y="258122"/>
                  </a:lnTo>
                  <a:lnTo>
                    <a:pt x="1557589" y="258224"/>
                  </a:lnTo>
                  <a:lnTo>
                    <a:pt x="1565796" y="265269"/>
                  </a:lnTo>
                  <a:lnTo>
                    <a:pt x="1567479" y="282362"/>
                  </a:lnTo>
                  <a:lnTo>
                    <a:pt x="1585455" y="277055"/>
                  </a:lnTo>
                  <a:lnTo>
                    <a:pt x="1591332" y="283834"/>
                  </a:lnTo>
                  <a:lnTo>
                    <a:pt x="1591714" y="295087"/>
                  </a:lnTo>
                  <a:lnTo>
                    <a:pt x="1593536" y="303101"/>
                  </a:lnTo>
                  <a:lnTo>
                    <a:pt x="1703936" y="378012"/>
                  </a:lnTo>
                  <a:lnTo>
                    <a:pt x="1761620" y="400698"/>
                  </a:lnTo>
                  <a:lnTo>
                    <a:pt x="1860404" y="391143"/>
                  </a:lnTo>
                  <a:lnTo>
                    <a:pt x="2011086" y="407737"/>
                  </a:lnTo>
                  <a:lnTo>
                    <a:pt x="2012261" y="406599"/>
                  </a:lnTo>
                  <a:lnTo>
                    <a:pt x="2034391" y="402374"/>
                  </a:lnTo>
                  <a:lnTo>
                    <a:pt x="2049025" y="413412"/>
                  </a:lnTo>
                  <a:lnTo>
                    <a:pt x="2055082" y="415106"/>
                  </a:lnTo>
                  <a:lnTo>
                    <a:pt x="2071719" y="409491"/>
                  </a:lnTo>
                  <a:lnTo>
                    <a:pt x="2083021" y="398024"/>
                  </a:lnTo>
                  <a:lnTo>
                    <a:pt x="2133607" y="302483"/>
                  </a:lnTo>
                  <a:lnTo>
                    <a:pt x="2151682" y="289305"/>
                  </a:lnTo>
                  <a:lnTo>
                    <a:pt x="2182723" y="292582"/>
                  </a:lnTo>
                  <a:lnTo>
                    <a:pt x="2193762" y="291627"/>
                  </a:lnTo>
                  <a:lnTo>
                    <a:pt x="2212773" y="282601"/>
                  </a:lnTo>
                  <a:lnTo>
                    <a:pt x="2222560" y="280856"/>
                  </a:lnTo>
                  <a:lnTo>
                    <a:pt x="2232542" y="283802"/>
                  </a:lnTo>
                  <a:lnTo>
                    <a:pt x="2251280" y="294802"/>
                  </a:lnTo>
                  <a:lnTo>
                    <a:pt x="2316003" y="310752"/>
                  </a:lnTo>
                  <a:lnTo>
                    <a:pt x="2335906" y="312265"/>
                  </a:lnTo>
                  <a:lnTo>
                    <a:pt x="2356730" y="319700"/>
                  </a:lnTo>
                  <a:lnTo>
                    <a:pt x="2365987" y="338901"/>
                  </a:lnTo>
                  <a:lnTo>
                    <a:pt x="2370983" y="362071"/>
                  </a:lnTo>
                  <a:lnTo>
                    <a:pt x="2379568" y="380964"/>
                  </a:lnTo>
                  <a:lnTo>
                    <a:pt x="2394062" y="390267"/>
                  </a:lnTo>
                  <a:lnTo>
                    <a:pt x="2411247" y="392544"/>
                  </a:lnTo>
                  <a:lnTo>
                    <a:pt x="2451918" y="389087"/>
                  </a:lnTo>
                  <a:lnTo>
                    <a:pt x="2468556" y="393985"/>
                  </a:lnTo>
                  <a:lnTo>
                    <a:pt x="2508472" y="418038"/>
                  </a:lnTo>
                  <a:lnTo>
                    <a:pt x="2528523" y="424542"/>
                  </a:lnTo>
                  <a:lnTo>
                    <a:pt x="2549010" y="421098"/>
                  </a:lnTo>
                  <a:lnTo>
                    <a:pt x="2589540" y="404531"/>
                  </a:lnTo>
                  <a:lnTo>
                    <a:pt x="2607208" y="405069"/>
                  </a:lnTo>
                  <a:lnTo>
                    <a:pt x="2634234" y="439667"/>
                  </a:lnTo>
                  <a:lnTo>
                    <a:pt x="2654104" y="546525"/>
                  </a:lnTo>
                  <a:lnTo>
                    <a:pt x="2693195" y="588031"/>
                  </a:lnTo>
                  <a:lnTo>
                    <a:pt x="2706772" y="663543"/>
                  </a:lnTo>
                  <a:lnTo>
                    <a:pt x="2702049" y="684218"/>
                  </a:lnTo>
                  <a:lnTo>
                    <a:pt x="2700127" y="692631"/>
                  </a:lnTo>
                  <a:lnTo>
                    <a:pt x="2683335" y="712179"/>
                  </a:lnTo>
                  <a:lnTo>
                    <a:pt x="2666222" y="727403"/>
                  </a:lnTo>
                  <a:lnTo>
                    <a:pt x="2658932" y="743101"/>
                  </a:lnTo>
                  <a:lnTo>
                    <a:pt x="2654265" y="764981"/>
                  </a:lnTo>
                  <a:lnTo>
                    <a:pt x="2628004" y="806996"/>
                  </a:lnTo>
                  <a:lnTo>
                    <a:pt x="2618105" y="829367"/>
                  </a:lnTo>
                  <a:lnTo>
                    <a:pt x="2614719" y="852788"/>
                  </a:lnTo>
                  <a:lnTo>
                    <a:pt x="2609117" y="939951"/>
                  </a:lnTo>
                  <a:lnTo>
                    <a:pt x="2606800" y="950323"/>
                  </a:lnTo>
                  <a:lnTo>
                    <a:pt x="2604344" y="955272"/>
                  </a:lnTo>
                  <a:lnTo>
                    <a:pt x="2602787" y="962746"/>
                  </a:lnTo>
                  <a:lnTo>
                    <a:pt x="2602934" y="980620"/>
                  </a:lnTo>
                  <a:lnTo>
                    <a:pt x="2606728" y="990248"/>
                  </a:lnTo>
                  <a:lnTo>
                    <a:pt x="2615325" y="994943"/>
                  </a:lnTo>
                  <a:lnTo>
                    <a:pt x="2637180" y="996260"/>
                  </a:lnTo>
                  <a:lnTo>
                    <a:pt x="2643481" y="999586"/>
                  </a:lnTo>
                  <a:lnTo>
                    <a:pt x="2655294" y="1008470"/>
                  </a:lnTo>
                  <a:lnTo>
                    <a:pt x="2666914" y="1020344"/>
                  </a:lnTo>
                  <a:lnTo>
                    <a:pt x="2672422" y="1033002"/>
                  </a:lnTo>
                  <a:lnTo>
                    <a:pt x="2670302" y="1040335"/>
                  </a:lnTo>
                  <a:lnTo>
                    <a:pt x="2666499" y="1049933"/>
                  </a:lnTo>
                  <a:lnTo>
                    <a:pt x="2664869" y="1058257"/>
                  </a:lnTo>
                  <a:lnTo>
                    <a:pt x="2669714" y="1061399"/>
                  </a:lnTo>
                  <a:lnTo>
                    <a:pt x="2672776" y="1064705"/>
                  </a:lnTo>
                  <a:lnTo>
                    <a:pt x="2676838" y="1072678"/>
                  </a:lnTo>
                  <a:lnTo>
                    <a:pt x="2680734" y="1081839"/>
                  </a:lnTo>
                  <a:lnTo>
                    <a:pt x="2682417" y="1089165"/>
                  </a:lnTo>
                  <a:lnTo>
                    <a:pt x="2686436" y="1098568"/>
                  </a:lnTo>
                  <a:lnTo>
                    <a:pt x="2694950" y="1103521"/>
                  </a:lnTo>
                  <a:lnTo>
                    <a:pt x="2704988" y="1107593"/>
                  </a:lnTo>
                  <a:lnTo>
                    <a:pt x="2717452" y="1117950"/>
                  </a:lnTo>
                  <a:lnTo>
                    <a:pt x="2724265" y="1119947"/>
                  </a:lnTo>
                  <a:lnTo>
                    <a:pt x="2728549" y="1125380"/>
                  </a:lnTo>
                  <a:lnTo>
                    <a:pt x="2729888" y="1132386"/>
                  </a:lnTo>
                  <a:lnTo>
                    <a:pt x="2729311" y="1151053"/>
                  </a:lnTo>
                  <a:lnTo>
                    <a:pt x="2730122" y="1158798"/>
                  </a:lnTo>
                  <a:lnTo>
                    <a:pt x="2749756" y="1216355"/>
                  </a:lnTo>
                  <a:lnTo>
                    <a:pt x="2756289" y="1245495"/>
                  </a:lnTo>
                  <a:lnTo>
                    <a:pt x="2758067" y="1280710"/>
                  </a:lnTo>
                  <a:lnTo>
                    <a:pt x="2766989" y="1305656"/>
                  </a:lnTo>
                  <a:lnTo>
                    <a:pt x="2795739" y="1334420"/>
                  </a:lnTo>
                  <a:lnTo>
                    <a:pt x="2811073" y="1342863"/>
                  </a:lnTo>
                  <a:lnTo>
                    <a:pt x="2828562" y="1344717"/>
                  </a:lnTo>
                  <a:lnTo>
                    <a:pt x="2840341" y="1351519"/>
                  </a:lnTo>
                  <a:lnTo>
                    <a:pt x="2858023" y="1380409"/>
                  </a:lnTo>
                  <a:lnTo>
                    <a:pt x="2858019" y="1380409"/>
                  </a:lnTo>
                  <a:lnTo>
                    <a:pt x="2845254" y="1395162"/>
                  </a:lnTo>
                  <a:lnTo>
                    <a:pt x="2837878" y="1399473"/>
                  </a:lnTo>
                  <a:lnTo>
                    <a:pt x="2828587" y="1402527"/>
                  </a:lnTo>
                  <a:lnTo>
                    <a:pt x="2815682" y="1400449"/>
                  </a:lnTo>
                  <a:lnTo>
                    <a:pt x="2806131" y="1394512"/>
                  </a:lnTo>
                  <a:lnTo>
                    <a:pt x="2794370" y="1389307"/>
                  </a:lnTo>
                  <a:lnTo>
                    <a:pt x="2786623" y="1392954"/>
                  </a:lnTo>
                  <a:lnTo>
                    <a:pt x="2773053" y="1408783"/>
                  </a:lnTo>
                  <a:lnTo>
                    <a:pt x="2769989" y="1433078"/>
                  </a:lnTo>
                  <a:lnTo>
                    <a:pt x="2771202" y="1444468"/>
                  </a:lnTo>
                  <a:lnTo>
                    <a:pt x="2775157" y="1456816"/>
                  </a:lnTo>
                  <a:lnTo>
                    <a:pt x="2774272" y="1470156"/>
                  </a:lnTo>
                  <a:lnTo>
                    <a:pt x="2767245" y="1485631"/>
                  </a:lnTo>
                  <a:lnTo>
                    <a:pt x="2754495" y="1494268"/>
                  </a:lnTo>
                  <a:lnTo>
                    <a:pt x="2736852" y="1486131"/>
                  </a:lnTo>
                  <a:lnTo>
                    <a:pt x="2702485" y="1461563"/>
                  </a:lnTo>
                  <a:lnTo>
                    <a:pt x="2685138" y="1454707"/>
                  </a:lnTo>
                  <a:lnTo>
                    <a:pt x="2663000" y="1458421"/>
                  </a:lnTo>
                  <a:lnTo>
                    <a:pt x="2638472" y="1471405"/>
                  </a:lnTo>
                  <a:lnTo>
                    <a:pt x="2595958" y="1505721"/>
                  </a:lnTo>
                  <a:lnTo>
                    <a:pt x="2551088" y="1529603"/>
                  </a:lnTo>
                  <a:lnTo>
                    <a:pt x="2538203" y="1528200"/>
                  </a:lnTo>
                  <a:lnTo>
                    <a:pt x="2525684" y="1531239"/>
                  </a:lnTo>
                  <a:lnTo>
                    <a:pt x="2503029" y="1542962"/>
                  </a:lnTo>
                  <a:lnTo>
                    <a:pt x="2477229" y="1566510"/>
                  </a:lnTo>
                  <a:lnTo>
                    <a:pt x="2463677" y="1608068"/>
                  </a:lnTo>
                  <a:lnTo>
                    <a:pt x="2453543" y="1628783"/>
                  </a:lnTo>
                  <a:lnTo>
                    <a:pt x="2438980" y="1643546"/>
                  </a:lnTo>
                  <a:lnTo>
                    <a:pt x="2402513" y="1671774"/>
                  </a:lnTo>
                  <a:lnTo>
                    <a:pt x="2382290" y="1694257"/>
                  </a:lnTo>
                  <a:lnTo>
                    <a:pt x="2340686" y="1717880"/>
                  </a:lnTo>
                  <a:lnTo>
                    <a:pt x="2263252" y="1695722"/>
                  </a:lnTo>
                  <a:lnTo>
                    <a:pt x="2225218" y="1699755"/>
                  </a:lnTo>
                  <a:lnTo>
                    <a:pt x="2194323" y="1710340"/>
                  </a:lnTo>
                  <a:lnTo>
                    <a:pt x="2143235" y="1753416"/>
                  </a:lnTo>
                  <a:lnTo>
                    <a:pt x="2126914" y="1772649"/>
                  </a:lnTo>
                  <a:lnTo>
                    <a:pt x="2111615" y="1805298"/>
                  </a:lnTo>
                  <a:lnTo>
                    <a:pt x="2111884" y="1868369"/>
                  </a:lnTo>
                  <a:lnTo>
                    <a:pt x="2108395" y="1887430"/>
                  </a:lnTo>
                  <a:lnTo>
                    <a:pt x="2102534" y="1902206"/>
                  </a:lnTo>
                  <a:lnTo>
                    <a:pt x="2089717" y="1918225"/>
                  </a:lnTo>
                  <a:lnTo>
                    <a:pt x="2077269" y="1929299"/>
                  </a:lnTo>
                  <a:lnTo>
                    <a:pt x="2039877" y="1935237"/>
                  </a:lnTo>
                  <a:lnTo>
                    <a:pt x="2043162" y="2034522"/>
                  </a:lnTo>
                  <a:lnTo>
                    <a:pt x="2052569" y="2054266"/>
                  </a:lnTo>
                  <a:lnTo>
                    <a:pt x="2070450" y="2082345"/>
                  </a:lnTo>
                  <a:lnTo>
                    <a:pt x="2109152" y="2124500"/>
                  </a:lnTo>
                  <a:lnTo>
                    <a:pt x="2143337" y="2173288"/>
                  </a:lnTo>
                  <a:lnTo>
                    <a:pt x="2110035" y="2244990"/>
                  </a:lnTo>
                  <a:lnTo>
                    <a:pt x="2103478" y="2255719"/>
                  </a:lnTo>
                  <a:lnTo>
                    <a:pt x="2093705" y="2275735"/>
                  </a:lnTo>
                  <a:lnTo>
                    <a:pt x="2088135" y="2294620"/>
                  </a:lnTo>
                  <a:lnTo>
                    <a:pt x="2086108" y="2330360"/>
                  </a:lnTo>
                  <a:lnTo>
                    <a:pt x="2090399" y="2353409"/>
                  </a:lnTo>
                  <a:lnTo>
                    <a:pt x="2097265" y="2372484"/>
                  </a:lnTo>
                  <a:lnTo>
                    <a:pt x="2097352" y="2392416"/>
                  </a:lnTo>
                  <a:lnTo>
                    <a:pt x="2096109" y="2408780"/>
                  </a:lnTo>
                  <a:lnTo>
                    <a:pt x="2041042" y="2472618"/>
                  </a:lnTo>
                  <a:lnTo>
                    <a:pt x="2023694" y="2487491"/>
                  </a:lnTo>
                  <a:lnTo>
                    <a:pt x="1996772" y="2503383"/>
                  </a:lnTo>
                  <a:lnTo>
                    <a:pt x="1969027" y="2509630"/>
                  </a:lnTo>
                  <a:lnTo>
                    <a:pt x="1905724" y="2510779"/>
                  </a:lnTo>
                  <a:lnTo>
                    <a:pt x="1866721" y="2479091"/>
                  </a:lnTo>
                  <a:lnTo>
                    <a:pt x="1854245" y="2455948"/>
                  </a:lnTo>
                  <a:lnTo>
                    <a:pt x="1846805" y="2438472"/>
                  </a:lnTo>
                  <a:lnTo>
                    <a:pt x="1845187" y="2431297"/>
                  </a:lnTo>
                  <a:lnTo>
                    <a:pt x="1843759" y="2419913"/>
                  </a:lnTo>
                  <a:lnTo>
                    <a:pt x="1840099" y="2408013"/>
                  </a:lnTo>
                  <a:lnTo>
                    <a:pt x="1836600" y="2400656"/>
                  </a:lnTo>
                  <a:lnTo>
                    <a:pt x="1832687" y="2396003"/>
                  </a:lnTo>
                  <a:lnTo>
                    <a:pt x="1827335" y="2394002"/>
                  </a:lnTo>
                  <a:lnTo>
                    <a:pt x="1802047" y="2407974"/>
                  </a:lnTo>
                  <a:lnTo>
                    <a:pt x="1791457" y="2412088"/>
                  </a:lnTo>
                  <a:lnTo>
                    <a:pt x="1783615" y="2411940"/>
                  </a:lnTo>
                  <a:lnTo>
                    <a:pt x="1774813" y="2408672"/>
                  </a:lnTo>
                  <a:lnTo>
                    <a:pt x="1764267" y="2399329"/>
                  </a:lnTo>
                  <a:lnTo>
                    <a:pt x="1736818" y="2385392"/>
                  </a:lnTo>
                  <a:lnTo>
                    <a:pt x="1646768" y="2373052"/>
                  </a:lnTo>
                  <a:lnTo>
                    <a:pt x="1632099" y="2336290"/>
                  </a:lnTo>
                  <a:lnTo>
                    <a:pt x="1617930" y="2310943"/>
                  </a:lnTo>
                  <a:lnTo>
                    <a:pt x="1588496" y="2290130"/>
                  </a:lnTo>
                  <a:lnTo>
                    <a:pt x="1561987" y="2290991"/>
                  </a:lnTo>
                  <a:lnTo>
                    <a:pt x="1553603" y="2289456"/>
                  </a:lnTo>
                  <a:lnTo>
                    <a:pt x="1546451" y="2285689"/>
                  </a:lnTo>
                  <a:lnTo>
                    <a:pt x="1543395" y="2275279"/>
                  </a:lnTo>
                  <a:lnTo>
                    <a:pt x="1544519" y="2267932"/>
                  </a:lnTo>
                  <a:lnTo>
                    <a:pt x="1548950" y="2252402"/>
                  </a:lnTo>
                  <a:lnTo>
                    <a:pt x="1549758" y="2240514"/>
                  </a:lnTo>
                  <a:lnTo>
                    <a:pt x="1549074" y="2229860"/>
                  </a:lnTo>
                  <a:lnTo>
                    <a:pt x="1546913" y="2220762"/>
                  </a:lnTo>
                  <a:lnTo>
                    <a:pt x="1545041" y="2215441"/>
                  </a:lnTo>
                  <a:lnTo>
                    <a:pt x="1538014" y="2202974"/>
                  </a:lnTo>
                  <a:lnTo>
                    <a:pt x="1532201" y="2196600"/>
                  </a:lnTo>
                  <a:lnTo>
                    <a:pt x="1523561" y="2192084"/>
                  </a:lnTo>
                  <a:lnTo>
                    <a:pt x="1509554" y="2195057"/>
                  </a:lnTo>
                  <a:lnTo>
                    <a:pt x="1473474" y="2216623"/>
                  </a:lnTo>
                  <a:lnTo>
                    <a:pt x="1461781" y="2217709"/>
                  </a:lnTo>
                  <a:lnTo>
                    <a:pt x="1451204" y="2210932"/>
                  </a:lnTo>
                  <a:lnTo>
                    <a:pt x="1442221" y="2189766"/>
                  </a:lnTo>
                  <a:lnTo>
                    <a:pt x="1437744" y="2171366"/>
                  </a:lnTo>
                  <a:lnTo>
                    <a:pt x="1429788" y="2124528"/>
                  </a:lnTo>
                  <a:lnTo>
                    <a:pt x="1424229" y="2113056"/>
                  </a:lnTo>
                  <a:lnTo>
                    <a:pt x="1416315" y="2105945"/>
                  </a:lnTo>
                  <a:lnTo>
                    <a:pt x="1401991" y="2103733"/>
                  </a:lnTo>
                  <a:lnTo>
                    <a:pt x="1393059" y="2105768"/>
                  </a:lnTo>
                  <a:lnTo>
                    <a:pt x="1382376" y="2106093"/>
                  </a:lnTo>
                  <a:lnTo>
                    <a:pt x="1369745" y="2103701"/>
                  </a:lnTo>
                  <a:lnTo>
                    <a:pt x="1348505" y="2093329"/>
                  </a:lnTo>
                  <a:lnTo>
                    <a:pt x="1332761" y="2083205"/>
                  </a:lnTo>
                  <a:lnTo>
                    <a:pt x="1319169" y="2065361"/>
                  </a:lnTo>
                  <a:lnTo>
                    <a:pt x="1296034" y="2041913"/>
                  </a:lnTo>
                  <a:lnTo>
                    <a:pt x="1222092" y="2037664"/>
                  </a:lnTo>
                  <a:lnTo>
                    <a:pt x="1179046" y="2008189"/>
                  </a:lnTo>
                  <a:lnTo>
                    <a:pt x="1087640" y="1966480"/>
                  </a:lnTo>
                  <a:lnTo>
                    <a:pt x="1040585" y="1925193"/>
                  </a:lnTo>
                  <a:lnTo>
                    <a:pt x="1022799" y="1918387"/>
                  </a:lnTo>
                  <a:lnTo>
                    <a:pt x="1000751" y="1916901"/>
                  </a:lnTo>
                  <a:lnTo>
                    <a:pt x="934280" y="1935115"/>
                  </a:lnTo>
                  <a:lnTo>
                    <a:pt x="926954" y="1935553"/>
                  </a:lnTo>
                  <a:lnTo>
                    <a:pt x="881601" y="1929738"/>
                  </a:lnTo>
                  <a:lnTo>
                    <a:pt x="852525" y="1969029"/>
                  </a:lnTo>
                  <a:lnTo>
                    <a:pt x="846893" y="1981357"/>
                  </a:lnTo>
                  <a:lnTo>
                    <a:pt x="836523" y="1994048"/>
                  </a:lnTo>
                  <a:lnTo>
                    <a:pt x="825009" y="2001508"/>
                  </a:lnTo>
                  <a:lnTo>
                    <a:pt x="783172" y="2011906"/>
                  </a:lnTo>
                  <a:lnTo>
                    <a:pt x="728048" y="2034815"/>
                  </a:lnTo>
                  <a:lnTo>
                    <a:pt x="694555" y="2045568"/>
                  </a:lnTo>
                  <a:lnTo>
                    <a:pt x="683995" y="2045889"/>
                  </a:lnTo>
                  <a:lnTo>
                    <a:pt x="665620" y="2042887"/>
                  </a:lnTo>
                  <a:lnTo>
                    <a:pt x="649200" y="2044002"/>
                  </a:lnTo>
                  <a:lnTo>
                    <a:pt x="627243" y="2050401"/>
                  </a:lnTo>
                  <a:lnTo>
                    <a:pt x="583751" y="2070321"/>
                  </a:lnTo>
                  <a:lnTo>
                    <a:pt x="557084" y="2087348"/>
                  </a:lnTo>
                  <a:lnTo>
                    <a:pt x="529415" y="2094552"/>
                  </a:lnTo>
                  <a:lnTo>
                    <a:pt x="506577" y="2091903"/>
                  </a:lnTo>
                  <a:lnTo>
                    <a:pt x="472978" y="2065082"/>
                  </a:lnTo>
                  <a:lnTo>
                    <a:pt x="462594" y="2054272"/>
                  </a:lnTo>
                  <a:lnTo>
                    <a:pt x="456426" y="2050949"/>
                  </a:lnTo>
                  <a:lnTo>
                    <a:pt x="342616" y="2053671"/>
                  </a:lnTo>
                  <a:lnTo>
                    <a:pt x="304061" y="2023847"/>
                  </a:lnTo>
                  <a:lnTo>
                    <a:pt x="321812" y="1983527"/>
                  </a:lnTo>
                  <a:lnTo>
                    <a:pt x="323378" y="1963751"/>
                  </a:lnTo>
                  <a:lnTo>
                    <a:pt x="323719" y="1926004"/>
                  </a:lnTo>
                  <a:lnTo>
                    <a:pt x="337353" y="1865583"/>
                  </a:lnTo>
                  <a:lnTo>
                    <a:pt x="356283" y="1837084"/>
                  </a:lnTo>
                  <a:lnTo>
                    <a:pt x="356232" y="1806616"/>
                  </a:lnTo>
                  <a:lnTo>
                    <a:pt x="348402" y="1794406"/>
                  </a:lnTo>
                  <a:lnTo>
                    <a:pt x="336494" y="1780712"/>
                  </a:lnTo>
                  <a:lnTo>
                    <a:pt x="313372" y="1763308"/>
                  </a:lnTo>
                  <a:lnTo>
                    <a:pt x="289608" y="1750450"/>
                  </a:lnTo>
                  <a:lnTo>
                    <a:pt x="255090" y="1740371"/>
                  </a:lnTo>
                  <a:lnTo>
                    <a:pt x="197556" y="1713014"/>
                  </a:lnTo>
                  <a:lnTo>
                    <a:pt x="20105" y="1582703"/>
                  </a:lnTo>
                  <a:lnTo>
                    <a:pt x="0" y="1559588"/>
                  </a:lnTo>
                  <a:lnTo>
                    <a:pt x="1241" y="1552045"/>
                  </a:lnTo>
                  <a:lnTo>
                    <a:pt x="9629" y="1549488"/>
                  </a:lnTo>
                  <a:lnTo>
                    <a:pt x="14693" y="1546264"/>
                  </a:lnTo>
                  <a:lnTo>
                    <a:pt x="19507" y="1541158"/>
                  </a:lnTo>
                  <a:lnTo>
                    <a:pt x="34421" y="1512579"/>
                  </a:lnTo>
                  <a:lnTo>
                    <a:pt x="35688" y="1507094"/>
                  </a:lnTo>
                  <a:lnTo>
                    <a:pt x="35396" y="1498693"/>
                  </a:lnTo>
                  <a:lnTo>
                    <a:pt x="36344" y="1494398"/>
                  </a:lnTo>
                  <a:lnTo>
                    <a:pt x="37644" y="1491184"/>
                  </a:lnTo>
                  <a:lnTo>
                    <a:pt x="50056" y="1476547"/>
                  </a:lnTo>
                  <a:lnTo>
                    <a:pt x="55798" y="1466419"/>
                  </a:lnTo>
                  <a:lnTo>
                    <a:pt x="55874" y="1460238"/>
                  </a:lnTo>
                  <a:lnTo>
                    <a:pt x="53956" y="1455732"/>
                  </a:lnTo>
                  <a:lnTo>
                    <a:pt x="51027" y="1451153"/>
                  </a:lnTo>
                  <a:lnTo>
                    <a:pt x="49081" y="1444711"/>
                  </a:lnTo>
                  <a:lnTo>
                    <a:pt x="43524" y="1398822"/>
                  </a:lnTo>
                  <a:lnTo>
                    <a:pt x="45406" y="1389545"/>
                  </a:lnTo>
                  <a:lnTo>
                    <a:pt x="50758" y="1376190"/>
                  </a:lnTo>
                  <a:lnTo>
                    <a:pt x="53405" y="1361950"/>
                  </a:lnTo>
                  <a:lnTo>
                    <a:pt x="58820" y="1296859"/>
                  </a:lnTo>
                  <a:lnTo>
                    <a:pt x="60739" y="1286619"/>
                  </a:lnTo>
                  <a:lnTo>
                    <a:pt x="62366" y="1283065"/>
                  </a:lnTo>
                  <a:lnTo>
                    <a:pt x="64335" y="1279927"/>
                  </a:lnTo>
                  <a:lnTo>
                    <a:pt x="67304" y="1276353"/>
                  </a:lnTo>
                  <a:lnTo>
                    <a:pt x="75098" y="1269809"/>
                  </a:lnTo>
                  <a:lnTo>
                    <a:pt x="81755" y="1265886"/>
                  </a:lnTo>
                  <a:lnTo>
                    <a:pt x="96171" y="1253308"/>
                  </a:lnTo>
                  <a:lnTo>
                    <a:pt x="144977" y="1253470"/>
                  </a:lnTo>
                  <a:lnTo>
                    <a:pt x="163773" y="1259807"/>
                  </a:lnTo>
                  <a:lnTo>
                    <a:pt x="180127" y="1270721"/>
                  </a:lnTo>
                  <a:lnTo>
                    <a:pt x="194551" y="1286454"/>
                  </a:lnTo>
                  <a:lnTo>
                    <a:pt x="224832" y="1328856"/>
                  </a:lnTo>
                  <a:lnTo>
                    <a:pt x="243547" y="1345470"/>
                  </a:lnTo>
                  <a:lnTo>
                    <a:pt x="266295" y="1351884"/>
                  </a:lnTo>
                  <a:lnTo>
                    <a:pt x="420796" y="1311451"/>
                  </a:lnTo>
                  <a:lnTo>
                    <a:pt x="435561" y="1298770"/>
                  </a:lnTo>
                  <a:lnTo>
                    <a:pt x="450893" y="1275273"/>
                  </a:lnTo>
                  <a:lnTo>
                    <a:pt x="466704" y="1259501"/>
                  </a:lnTo>
                  <a:lnTo>
                    <a:pt x="486227" y="1250451"/>
                  </a:lnTo>
                  <a:lnTo>
                    <a:pt x="539660" y="1246679"/>
                  </a:lnTo>
                  <a:lnTo>
                    <a:pt x="551699" y="1249625"/>
                  </a:lnTo>
                  <a:lnTo>
                    <a:pt x="565183" y="1257329"/>
                  </a:lnTo>
                  <a:lnTo>
                    <a:pt x="581877" y="1276393"/>
                  </a:lnTo>
                  <a:lnTo>
                    <a:pt x="581780" y="1240165"/>
                  </a:lnTo>
                  <a:lnTo>
                    <a:pt x="586175" y="1099871"/>
                  </a:lnTo>
                  <a:lnTo>
                    <a:pt x="571903" y="1019656"/>
                  </a:lnTo>
                  <a:lnTo>
                    <a:pt x="566072" y="1005235"/>
                  </a:lnTo>
                  <a:lnTo>
                    <a:pt x="545603" y="989859"/>
                  </a:lnTo>
                  <a:lnTo>
                    <a:pt x="538489" y="937603"/>
                  </a:lnTo>
                  <a:lnTo>
                    <a:pt x="511702" y="928444"/>
                  </a:lnTo>
                  <a:lnTo>
                    <a:pt x="486263" y="894666"/>
                  </a:lnTo>
                  <a:lnTo>
                    <a:pt x="481084" y="878298"/>
                  </a:lnTo>
                  <a:lnTo>
                    <a:pt x="480906" y="863932"/>
                  </a:lnTo>
                  <a:lnTo>
                    <a:pt x="482604" y="854188"/>
                  </a:lnTo>
                  <a:lnTo>
                    <a:pt x="482419" y="839524"/>
                  </a:lnTo>
                  <a:lnTo>
                    <a:pt x="483303" y="833711"/>
                  </a:lnTo>
                  <a:lnTo>
                    <a:pt x="485301" y="830600"/>
                  </a:lnTo>
                  <a:lnTo>
                    <a:pt x="489292" y="829639"/>
                  </a:lnTo>
                  <a:lnTo>
                    <a:pt x="513879" y="830989"/>
                  </a:lnTo>
                  <a:lnTo>
                    <a:pt x="517163" y="828229"/>
                  </a:lnTo>
                  <a:lnTo>
                    <a:pt x="518027" y="821491"/>
                  </a:lnTo>
                  <a:lnTo>
                    <a:pt x="516007" y="804551"/>
                  </a:lnTo>
                  <a:lnTo>
                    <a:pt x="505124" y="786954"/>
                  </a:lnTo>
                  <a:lnTo>
                    <a:pt x="489678" y="774579"/>
                  </a:lnTo>
                  <a:lnTo>
                    <a:pt x="471637" y="768594"/>
                  </a:lnTo>
                  <a:lnTo>
                    <a:pt x="432484" y="764074"/>
                  </a:lnTo>
                  <a:lnTo>
                    <a:pt x="397535" y="746464"/>
                  </a:lnTo>
                  <a:lnTo>
                    <a:pt x="362050" y="732088"/>
                  </a:lnTo>
                  <a:lnTo>
                    <a:pt x="294104" y="717867"/>
                  </a:lnTo>
                  <a:lnTo>
                    <a:pt x="274259" y="699476"/>
                  </a:lnTo>
                  <a:lnTo>
                    <a:pt x="271689" y="694657"/>
                  </a:lnTo>
                  <a:lnTo>
                    <a:pt x="276475" y="689684"/>
                  </a:lnTo>
                  <a:lnTo>
                    <a:pt x="281168" y="647326"/>
                  </a:lnTo>
                  <a:lnTo>
                    <a:pt x="279726" y="597639"/>
                  </a:lnTo>
                  <a:lnTo>
                    <a:pt x="282827" y="553672"/>
                  </a:lnTo>
                  <a:lnTo>
                    <a:pt x="302536" y="520289"/>
                  </a:lnTo>
                  <a:lnTo>
                    <a:pt x="358056" y="469521"/>
                  </a:lnTo>
                  <a:lnTo>
                    <a:pt x="362900" y="438329"/>
                  </a:lnTo>
                  <a:lnTo>
                    <a:pt x="373286" y="419056"/>
                  </a:lnTo>
                  <a:lnTo>
                    <a:pt x="377230" y="399233"/>
                  </a:lnTo>
                  <a:lnTo>
                    <a:pt x="383246" y="383652"/>
                  </a:lnTo>
                  <a:lnTo>
                    <a:pt x="399294" y="377129"/>
                  </a:lnTo>
                  <a:lnTo>
                    <a:pt x="455363" y="383764"/>
                  </a:lnTo>
                  <a:lnTo>
                    <a:pt x="511202" y="405412"/>
                  </a:lnTo>
                  <a:lnTo>
                    <a:pt x="532868" y="402947"/>
                  </a:lnTo>
                  <a:lnTo>
                    <a:pt x="544560" y="374213"/>
                  </a:lnTo>
                  <a:lnTo>
                    <a:pt x="542174" y="371322"/>
                  </a:lnTo>
                  <a:lnTo>
                    <a:pt x="537192" y="360915"/>
                  </a:lnTo>
                  <a:lnTo>
                    <a:pt x="532273" y="348162"/>
                  </a:lnTo>
                  <a:lnTo>
                    <a:pt x="529955" y="337955"/>
                  </a:lnTo>
                  <a:lnTo>
                    <a:pt x="531487" y="326575"/>
                  </a:lnTo>
                  <a:lnTo>
                    <a:pt x="538800" y="305917"/>
                  </a:lnTo>
                  <a:lnTo>
                    <a:pt x="559302" y="203615"/>
                  </a:lnTo>
                  <a:lnTo>
                    <a:pt x="558451" y="158670"/>
                  </a:lnTo>
                  <a:lnTo>
                    <a:pt x="552973" y="109026"/>
                  </a:lnTo>
                  <a:lnTo>
                    <a:pt x="552425" y="62728"/>
                  </a:lnTo>
                  <a:lnTo>
                    <a:pt x="566246" y="28143"/>
                  </a:lnTo>
                  <a:lnTo>
                    <a:pt x="565064" y="19345"/>
                  </a:lnTo>
                  <a:lnTo>
                    <a:pt x="564901" y="11780"/>
                  </a:lnTo>
                  <a:lnTo>
                    <a:pt x="566437" y="6287"/>
                  </a:lnTo>
                  <a:lnTo>
                    <a:pt x="569796" y="3523"/>
                  </a:lnTo>
                  <a:close/>
                </a:path>
              </a:pathLst>
            </a:custGeom>
            <a:solidFill>
              <a:srgbClr val="DDDDDD"/>
            </a:solidFill>
            <a:ln w="3175" cap="rnd">
              <a:solidFill>
                <a:srgbClr val="C0C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IE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" name="Freeform 12">
              <a:extLst>
                <a:ext uri="{FF2B5EF4-FFF2-40B4-BE49-F238E27FC236}">
                  <a16:creationId xmlns:a16="http://schemas.microsoft.com/office/drawing/2014/main" id="{208AF56B-9786-827F-9CD8-1E42C610C200}"/>
                </a:ext>
              </a:extLst>
            </p:cNvPr>
            <p:cNvSpPr>
              <a:spLocks noChangeAspect="1"/>
            </p:cNvSpPr>
            <p:nvPr>
              <p:custDataLst>
                <p:tags r:id="rId9"/>
              </p:custDataLst>
            </p:nvPr>
          </p:nvSpPr>
          <p:spPr>
            <a:xfrm>
              <a:off x="7691613" y="2847467"/>
              <a:ext cx="420097" cy="317094"/>
            </a:xfrm>
            <a:custGeom>
              <a:avLst/>
              <a:gdLst/>
              <a:ahLst/>
              <a:cxnLst/>
              <a:rect l="0" t="0" r="0" b="0"/>
              <a:pathLst>
                <a:path w="420097" h="317094">
                  <a:moveTo>
                    <a:pt x="314879" y="64672"/>
                  </a:moveTo>
                  <a:lnTo>
                    <a:pt x="315695" y="64130"/>
                  </a:lnTo>
                  <a:lnTo>
                    <a:pt x="318412" y="56704"/>
                  </a:lnTo>
                  <a:lnTo>
                    <a:pt x="324960" y="44490"/>
                  </a:lnTo>
                  <a:lnTo>
                    <a:pt x="345256" y="40212"/>
                  </a:lnTo>
                  <a:lnTo>
                    <a:pt x="356975" y="50328"/>
                  </a:lnTo>
                  <a:lnTo>
                    <a:pt x="363222" y="63402"/>
                  </a:lnTo>
                  <a:lnTo>
                    <a:pt x="374970" y="75408"/>
                  </a:lnTo>
                  <a:lnTo>
                    <a:pt x="378987" y="87183"/>
                  </a:lnTo>
                  <a:lnTo>
                    <a:pt x="383881" y="107887"/>
                  </a:lnTo>
                  <a:lnTo>
                    <a:pt x="392439" y="115727"/>
                  </a:lnTo>
                  <a:lnTo>
                    <a:pt x="395538" y="121571"/>
                  </a:lnTo>
                  <a:lnTo>
                    <a:pt x="397049" y="125545"/>
                  </a:lnTo>
                  <a:lnTo>
                    <a:pt x="396424" y="130706"/>
                  </a:lnTo>
                  <a:lnTo>
                    <a:pt x="389628" y="165098"/>
                  </a:lnTo>
                  <a:lnTo>
                    <a:pt x="386443" y="209603"/>
                  </a:lnTo>
                  <a:lnTo>
                    <a:pt x="394632" y="232561"/>
                  </a:lnTo>
                  <a:lnTo>
                    <a:pt x="420096" y="280795"/>
                  </a:lnTo>
                  <a:lnTo>
                    <a:pt x="344482" y="270045"/>
                  </a:lnTo>
                  <a:lnTo>
                    <a:pt x="293794" y="274634"/>
                  </a:lnTo>
                  <a:lnTo>
                    <a:pt x="277855" y="279902"/>
                  </a:lnTo>
                  <a:lnTo>
                    <a:pt x="269428" y="287977"/>
                  </a:lnTo>
                  <a:lnTo>
                    <a:pt x="266287" y="293573"/>
                  </a:lnTo>
                  <a:lnTo>
                    <a:pt x="263101" y="302275"/>
                  </a:lnTo>
                  <a:lnTo>
                    <a:pt x="257796" y="308504"/>
                  </a:lnTo>
                  <a:lnTo>
                    <a:pt x="246853" y="316888"/>
                  </a:lnTo>
                  <a:lnTo>
                    <a:pt x="222564" y="317093"/>
                  </a:lnTo>
                  <a:lnTo>
                    <a:pt x="212044" y="314987"/>
                  </a:lnTo>
                  <a:lnTo>
                    <a:pt x="192199" y="306932"/>
                  </a:lnTo>
                  <a:lnTo>
                    <a:pt x="177001" y="297014"/>
                  </a:lnTo>
                  <a:lnTo>
                    <a:pt x="148390" y="298460"/>
                  </a:lnTo>
                  <a:lnTo>
                    <a:pt x="119526" y="305040"/>
                  </a:lnTo>
                  <a:lnTo>
                    <a:pt x="53204" y="301748"/>
                  </a:lnTo>
                  <a:lnTo>
                    <a:pt x="40104" y="294962"/>
                  </a:lnTo>
                  <a:lnTo>
                    <a:pt x="35515" y="284747"/>
                  </a:lnTo>
                  <a:lnTo>
                    <a:pt x="28358" y="277868"/>
                  </a:lnTo>
                  <a:lnTo>
                    <a:pt x="19026" y="262148"/>
                  </a:lnTo>
                  <a:lnTo>
                    <a:pt x="26530" y="215407"/>
                  </a:lnTo>
                  <a:lnTo>
                    <a:pt x="23312" y="205730"/>
                  </a:lnTo>
                  <a:lnTo>
                    <a:pt x="18214" y="195235"/>
                  </a:lnTo>
                  <a:lnTo>
                    <a:pt x="9652" y="186470"/>
                  </a:lnTo>
                  <a:lnTo>
                    <a:pt x="211" y="172063"/>
                  </a:lnTo>
                  <a:lnTo>
                    <a:pt x="0" y="157308"/>
                  </a:lnTo>
                  <a:lnTo>
                    <a:pt x="3072" y="145001"/>
                  </a:lnTo>
                  <a:lnTo>
                    <a:pt x="5713" y="139267"/>
                  </a:lnTo>
                  <a:lnTo>
                    <a:pt x="12357" y="128255"/>
                  </a:lnTo>
                  <a:lnTo>
                    <a:pt x="20082" y="119227"/>
                  </a:lnTo>
                  <a:lnTo>
                    <a:pt x="46776" y="131013"/>
                  </a:lnTo>
                  <a:lnTo>
                    <a:pt x="61304" y="128784"/>
                  </a:lnTo>
                  <a:lnTo>
                    <a:pt x="74912" y="124483"/>
                  </a:lnTo>
                  <a:lnTo>
                    <a:pt x="83565" y="118015"/>
                  </a:lnTo>
                  <a:lnTo>
                    <a:pt x="95707" y="106198"/>
                  </a:lnTo>
                  <a:lnTo>
                    <a:pt x="101218" y="96656"/>
                  </a:lnTo>
                  <a:lnTo>
                    <a:pt x="172060" y="46480"/>
                  </a:lnTo>
                  <a:lnTo>
                    <a:pt x="209525" y="26506"/>
                  </a:lnTo>
                  <a:lnTo>
                    <a:pt x="227795" y="20566"/>
                  </a:lnTo>
                  <a:lnTo>
                    <a:pt x="236213" y="12917"/>
                  </a:lnTo>
                  <a:lnTo>
                    <a:pt x="239552" y="0"/>
                  </a:lnTo>
                  <a:lnTo>
                    <a:pt x="273177" y="2017"/>
                  </a:lnTo>
                  <a:lnTo>
                    <a:pt x="279697" y="9739"/>
                  </a:lnTo>
                  <a:lnTo>
                    <a:pt x="311511" y="60351"/>
                  </a:lnTo>
                  <a:close/>
                </a:path>
              </a:pathLst>
            </a:custGeom>
            <a:solidFill>
              <a:schemeClr val="tx2"/>
            </a:solidFill>
            <a:ln w="3175" cap="rnd">
              <a:solidFill>
                <a:srgbClr val="C0C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IE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51" name="Picture Placeholder 16">
            <a:extLst>
              <a:ext uri="{FF2B5EF4-FFF2-40B4-BE49-F238E27FC236}">
                <a16:creationId xmlns:a16="http://schemas.microsoft.com/office/drawing/2014/main" id="{CAF804EE-8E02-7B32-C415-FA7EF766E2F1}"/>
              </a:ext>
            </a:extLst>
          </p:cNvPr>
          <p:cNvPicPr>
            <a:picLocks noChangeAspect="1"/>
          </p:cNvPicPr>
          <p:nvPr/>
        </p:nvPicPr>
        <p:blipFill rotWithShape="1"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rcRect t="-70942" b="-70942"/>
          <a:stretch/>
        </p:blipFill>
        <p:spPr>
          <a:xfrm>
            <a:off x="286155" y="4670856"/>
            <a:ext cx="1641663" cy="1191290"/>
          </a:xfrm>
          <a:prstGeom prst="rect">
            <a:avLst/>
          </a:prstGeom>
        </p:spPr>
      </p:pic>
      <p:pic>
        <p:nvPicPr>
          <p:cNvPr id="52" name="Picture Placeholder 12" descr="A picture containing night sky&#10;&#10;Description automatically generated">
            <a:extLst>
              <a:ext uri="{FF2B5EF4-FFF2-40B4-BE49-F238E27FC236}">
                <a16:creationId xmlns:a16="http://schemas.microsoft.com/office/drawing/2014/main" id="{F91A58B8-8662-6E3C-5380-E75287AE23BB}"/>
              </a:ext>
            </a:extLst>
          </p:cNvPr>
          <p:cNvPicPr>
            <a:picLocks noChangeAspect="1"/>
          </p:cNvPicPr>
          <p:nvPr/>
        </p:nvPicPr>
        <p:blipFill rotWithShape="1">
          <a:blip r:embed="rId14"/>
          <a:srcRect t="-104727" b="-104727"/>
          <a:stretch/>
        </p:blipFill>
        <p:spPr>
          <a:xfrm>
            <a:off x="10140586" y="4581356"/>
            <a:ext cx="1583270" cy="1148917"/>
          </a:xfrm>
          <a:prstGeom prst="rect">
            <a:avLst/>
          </a:prstGeom>
        </p:spPr>
      </p:pic>
      <p:pic>
        <p:nvPicPr>
          <p:cNvPr id="53" name="Picture Placeholder 14" descr="Icon&#10;&#10;Description automatically generated with medium confidence">
            <a:extLst>
              <a:ext uri="{FF2B5EF4-FFF2-40B4-BE49-F238E27FC236}">
                <a16:creationId xmlns:a16="http://schemas.microsoft.com/office/drawing/2014/main" id="{59A5498B-6210-FD13-D646-5ABCF5017BC5}"/>
              </a:ext>
            </a:extLst>
          </p:cNvPr>
          <p:cNvPicPr>
            <a:picLocks noChangeAspect="1"/>
          </p:cNvPicPr>
          <p:nvPr/>
        </p:nvPicPr>
        <p:blipFill rotWithShape="1">
          <a:blip r:embed="rId15"/>
          <a:srcRect t="-29220" b="-29220"/>
          <a:stretch/>
        </p:blipFill>
        <p:spPr>
          <a:xfrm>
            <a:off x="2530223" y="4581107"/>
            <a:ext cx="1804452" cy="1309421"/>
          </a:xfrm>
          <a:prstGeom prst="rect">
            <a:avLst/>
          </a:prstGeom>
        </p:spPr>
      </p:pic>
      <p:pic>
        <p:nvPicPr>
          <p:cNvPr id="54" name="Picture 2" descr="Aventario Services GmbH Jobs - willhaben">
            <a:extLst>
              <a:ext uri="{FF2B5EF4-FFF2-40B4-BE49-F238E27FC236}">
                <a16:creationId xmlns:a16="http://schemas.microsoft.com/office/drawing/2014/main" id="{5AD82921-2C33-9131-D62A-441CCF0EB8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8450" y="4874958"/>
            <a:ext cx="1966804" cy="5464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" name="Picture Placeholder 18" descr="Text&#10;&#10;Description automatically generated with low confidence">
            <a:extLst>
              <a:ext uri="{FF2B5EF4-FFF2-40B4-BE49-F238E27FC236}">
                <a16:creationId xmlns:a16="http://schemas.microsoft.com/office/drawing/2014/main" id="{2DA5AC10-2654-7D68-ACC8-D3C6F7DAE99A}"/>
              </a:ext>
            </a:extLst>
          </p:cNvPr>
          <p:cNvPicPr>
            <a:picLocks noChangeAspect="1"/>
          </p:cNvPicPr>
          <p:nvPr/>
        </p:nvPicPr>
        <p:blipFill rotWithShape="1">
          <a:blip r:embed="rId17"/>
          <a:srcRect t="-35038" b="-35038"/>
          <a:stretch/>
        </p:blipFill>
        <p:spPr>
          <a:xfrm>
            <a:off x="8407723" y="4708187"/>
            <a:ext cx="1299735" cy="943167"/>
          </a:xfrm>
          <a:prstGeom prst="rect">
            <a:avLst/>
          </a:prstGeom>
        </p:spPr>
      </p:pic>
      <p:pic>
        <p:nvPicPr>
          <p:cNvPr id="56" name="Picture 2">
            <a:extLst>
              <a:ext uri="{FF2B5EF4-FFF2-40B4-BE49-F238E27FC236}">
                <a16:creationId xmlns:a16="http://schemas.microsoft.com/office/drawing/2014/main" id="{91974CB2-DED3-7AA8-A509-928DFF78FBF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1708" y="4788799"/>
            <a:ext cx="710082" cy="7043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" name="Picture Placeholder 12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43E73CCF-1AF9-8936-F1BF-A89E627EA20E}"/>
              </a:ext>
            </a:extLst>
          </p:cNvPr>
          <p:cNvPicPr>
            <a:picLocks noChangeAspect="1"/>
          </p:cNvPicPr>
          <p:nvPr/>
        </p:nvPicPr>
        <p:blipFill rotWithShape="1">
          <a:blip r:embed="rId19"/>
          <a:srcRect t="-155507" b="-155507"/>
          <a:stretch/>
        </p:blipFill>
        <p:spPr>
          <a:xfrm>
            <a:off x="269059" y="5337174"/>
            <a:ext cx="2041382" cy="1481351"/>
          </a:xfrm>
          <a:prstGeom prst="rect">
            <a:avLst/>
          </a:prstGeom>
        </p:spPr>
      </p:pic>
      <p:pic>
        <p:nvPicPr>
          <p:cNvPr id="58" name="Picture Placeholder 14" descr="Graphical user interface&#10;&#10;Description automatically generated with medium confidence">
            <a:extLst>
              <a:ext uri="{FF2B5EF4-FFF2-40B4-BE49-F238E27FC236}">
                <a16:creationId xmlns:a16="http://schemas.microsoft.com/office/drawing/2014/main" id="{F14325A1-89B7-51FD-511C-0523ED5CFB39}"/>
              </a:ext>
            </a:extLst>
          </p:cNvPr>
          <p:cNvPicPr>
            <a:picLocks noChangeAspect="1"/>
          </p:cNvPicPr>
          <p:nvPr/>
        </p:nvPicPr>
        <p:blipFill rotWithShape="1">
          <a:blip r:embed="rId20"/>
          <a:srcRect l="4065" r="4065"/>
          <a:stretch/>
        </p:blipFill>
        <p:spPr>
          <a:xfrm>
            <a:off x="2450806" y="5279421"/>
            <a:ext cx="2062334" cy="1496555"/>
          </a:xfrm>
          <a:prstGeom prst="rect">
            <a:avLst/>
          </a:prstGeom>
        </p:spPr>
      </p:pic>
      <p:pic>
        <p:nvPicPr>
          <p:cNvPr id="59" name="Picture Placeholder 20" descr="Shape&#10;&#10;Description automatically generated with medium confidence">
            <a:extLst>
              <a:ext uri="{FF2B5EF4-FFF2-40B4-BE49-F238E27FC236}">
                <a16:creationId xmlns:a16="http://schemas.microsoft.com/office/drawing/2014/main" id="{56DC4E30-C7F8-D307-83F5-4964C5F031C6}"/>
              </a:ext>
            </a:extLst>
          </p:cNvPr>
          <p:cNvPicPr>
            <a:picLocks noChangeAspect="1"/>
          </p:cNvPicPr>
          <p:nvPr/>
        </p:nvPicPr>
        <p:blipFill rotWithShape="1">
          <a:blip r:embed="rId21"/>
          <a:srcRect t="-140346" b="-140346"/>
          <a:stretch/>
        </p:blipFill>
        <p:spPr>
          <a:xfrm>
            <a:off x="6684246" y="5382782"/>
            <a:ext cx="1804452" cy="1309420"/>
          </a:xfrm>
          <a:prstGeom prst="rect">
            <a:avLst/>
          </a:prstGeom>
        </p:spPr>
      </p:pic>
      <p:pic>
        <p:nvPicPr>
          <p:cNvPr id="60" name="Picture Placeholder 24" descr="Shape&#10;&#10;Description automatically generated with medium confidence">
            <a:extLst>
              <a:ext uri="{FF2B5EF4-FFF2-40B4-BE49-F238E27FC236}">
                <a16:creationId xmlns:a16="http://schemas.microsoft.com/office/drawing/2014/main" id="{6751070D-4D1A-C0F3-B13F-CA5906DAB556}"/>
              </a:ext>
            </a:extLst>
          </p:cNvPr>
          <p:cNvPicPr>
            <a:picLocks noChangeAspect="1"/>
          </p:cNvPicPr>
          <p:nvPr/>
        </p:nvPicPr>
        <p:blipFill rotWithShape="1">
          <a:blip r:embed="rId22"/>
          <a:srcRect t="-22566" b="-22566"/>
          <a:stretch/>
        </p:blipFill>
        <p:spPr>
          <a:xfrm>
            <a:off x="4615247" y="5345203"/>
            <a:ext cx="1856238" cy="1346999"/>
          </a:xfrm>
          <a:prstGeom prst="rect">
            <a:avLst/>
          </a:prstGeom>
        </p:spPr>
      </p:pic>
      <p:pic>
        <p:nvPicPr>
          <p:cNvPr id="61" name="Picture Placeholder 18" descr="Logo, company name&#10;&#10;Description automatically generated">
            <a:extLst>
              <a:ext uri="{FF2B5EF4-FFF2-40B4-BE49-F238E27FC236}">
                <a16:creationId xmlns:a16="http://schemas.microsoft.com/office/drawing/2014/main" id="{19E32EB3-3E79-B832-B0E1-776BEBA71B46}"/>
              </a:ext>
            </a:extLst>
          </p:cNvPr>
          <p:cNvPicPr>
            <a:picLocks noChangeAspect="1"/>
          </p:cNvPicPr>
          <p:nvPr/>
        </p:nvPicPr>
        <p:blipFill rotWithShape="1">
          <a:blip r:embed="rId23"/>
          <a:srcRect t="-22566" b="-22566"/>
          <a:stretch/>
        </p:blipFill>
        <p:spPr>
          <a:xfrm>
            <a:off x="8710916" y="5444010"/>
            <a:ext cx="1583914" cy="1149384"/>
          </a:xfrm>
          <a:prstGeom prst="rect">
            <a:avLst/>
          </a:prstGeom>
        </p:spPr>
      </p:pic>
      <p:pic>
        <p:nvPicPr>
          <p:cNvPr id="62" name="Picture Placeholder 22">
            <a:extLst>
              <a:ext uri="{FF2B5EF4-FFF2-40B4-BE49-F238E27FC236}">
                <a16:creationId xmlns:a16="http://schemas.microsoft.com/office/drawing/2014/main" id="{696E1008-1D45-C4B9-AE7B-8CAE61F9D2EB}"/>
              </a:ext>
            </a:extLst>
          </p:cNvPr>
          <p:cNvPicPr>
            <a:picLocks noChangeAspect="1"/>
          </p:cNvPicPr>
          <p:nvPr/>
        </p:nvPicPr>
        <p:blipFill rotWithShape="1"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rcRect t="-103482" b="-103482"/>
          <a:stretch/>
        </p:blipFill>
        <p:spPr>
          <a:xfrm>
            <a:off x="10478314" y="5481213"/>
            <a:ext cx="1447708" cy="1050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570229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val 14">
            <a:extLst>
              <a:ext uri="{FF2B5EF4-FFF2-40B4-BE49-F238E27FC236}">
                <a16:creationId xmlns:a16="http://schemas.microsoft.com/office/drawing/2014/main" id="{F1E7615F-482E-6B23-DB40-DF35794B1E75}"/>
              </a:ext>
            </a:extLst>
          </p:cNvPr>
          <p:cNvSpPr/>
          <p:nvPr/>
        </p:nvSpPr>
        <p:spPr>
          <a:xfrm>
            <a:off x="9237528" y="2589637"/>
            <a:ext cx="1678726" cy="1678726"/>
          </a:xfrm>
          <a:prstGeom prst="ellipse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noFill/>
              </a:ln>
              <a:solidFill>
                <a:schemeClr val="tx1"/>
              </a:solidFill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F863E3E8-5B7C-A3CA-7201-2E1CA780A686}"/>
              </a:ext>
            </a:extLst>
          </p:cNvPr>
          <p:cNvSpPr/>
          <p:nvPr/>
        </p:nvSpPr>
        <p:spPr>
          <a:xfrm>
            <a:off x="6654101" y="2589637"/>
            <a:ext cx="1678726" cy="1678726"/>
          </a:xfrm>
          <a:prstGeom prst="ellipse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noFill/>
              </a:ln>
              <a:solidFill>
                <a:schemeClr val="tx1"/>
              </a:solidFill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0BBE5324-93F5-7315-7E42-1310CE414676}"/>
              </a:ext>
            </a:extLst>
          </p:cNvPr>
          <p:cNvSpPr/>
          <p:nvPr/>
        </p:nvSpPr>
        <p:spPr>
          <a:xfrm>
            <a:off x="3954683" y="2589637"/>
            <a:ext cx="1678726" cy="1678726"/>
          </a:xfrm>
          <a:prstGeom prst="ellipse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noFill/>
              </a:ln>
              <a:solidFill>
                <a:schemeClr val="tx1"/>
              </a:solidFill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3417D506-63ED-D58A-D522-4C6AD66AB487}"/>
              </a:ext>
            </a:extLst>
          </p:cNvPr>
          <p:cNvSpPr/>
          <p:nvPr/>
        </p:nvSpPr>
        <p:spPr>
          <a:xfrm>
            <a:off x="1255266" y="2589637"/>
            <a:ext cx="1678726" cy="1678726"/>
          </a:xfrm>
          <a:prstGeom prst="ellipse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noFill/>
              </a:ln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4513630-8659-BF41-9C99-113C8D785D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ervic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C18FB2B-EEC2-9F61-4BE5-68C00038985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320045" y="4463580"/>
            <a:ext cx="1678726" cy="359229"/>
          </a:xfrm>
        </p:spPr>
        <p:txBody>
          <a:bodyPr>
            <a:noAutofit/>
          </a:bodyPr>
          <a:lstStyle/>
          <a:p>
            <a:r>
              <a:rPr lang="en-IE" sz="1500"/>
              <a:t>Cloud Platform</a:t>
            </a:r>
            <a:endParaRPr lang="en-US" sz="150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594F0B0-A352-C9BD-6B33-F75330C9E082}"/>
              </a:ext>
            </a:extLst>
          </p:cNvPr>
          <p:cNvSpPr>
            <a:spLocks noGrp="1"/>
          </p:cNvSpPr>
          <p:nvPr>
            <p:ph type="body" idx="41"/>
          </p:nvPr>
        </p:nvSpPr>
        <p:spPr>
          <a:xfrm>
            <a:off x="3579871" y="4463579"/>
            <a:ext cx="2604475" cy="359229"/>
          </a:xfrm>
        </p:spPr>
        <p:txBody>
          <a:bodyPr>
            <a:noAutofit/>
          </a:bodyPr>
          <a:lstStyle/>
          <a:p>
            <a:r>
              <a:rPr lang="en-IE" sz="1500"/>
              <a:t>Cloud-Native Consulting</a:t>
            </a:r>
            <a:endParaRPr lang="en-US" sz="1500"/>
          </a:p>
          <a:p>
            <a:endParaRPr lang="en-US" sz="1500" b="1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F2E2BF8-CA09-E9D0-E019-058C60D836DD}"/>
              </a:ext>
            </a:extLst>
          </p:cNvPr>
          <p:cNvSpPr>
            <a:spLocks noGrp="1"/>
          </p:cNvSpPr>
          <p:nvPr>
            <p:ph type="body" idx="42"/>
          </p:nvPr>
        </p:nvSpPr>
        <p:spPr>
          <a:xfrm>
            <a:off x="6654100" y="4464467"/>
            <a:ext cx="1678726" cy="419467"/>
          </a:xfrm>
        </p:spPr>
        <p:txBody>
          <a:bodyPr>
            <a:normAutofit/>
          </a:bodyPr>
          <a:lstStyle/>
          <a:p>
            <a:r>
              <a:rPr lang="en-IE" sz="1500"/>
              <a:t>Data Platform</a:t>
            </a:r>
            <a:endParaRPr lang="en-US" sz="150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45BEF54-EDBD-C194-3589-16BBA8049254}"/>
              </a:ext>
            </a:extLst>
          </p:cNvPr>
          <p:cNvSpPr>
            <a:spLocks noGrp="1"/>
          </p:cNvSpPr>
          <p:nvPr>
            <p:ph type="body" idx="43"/>
          </p:nvPr>
        </p:nvSpPr>
        <p:spPr>
          <a:xfrm>
            <a:off x="8779532" y="4463579"/>
            <a:ext cx="2837937" cy="419467"/>
          </a:xfrm>
        </p:spPr>
        <p:txBody>
          <a:bodyPr>
            <a:noAutofit/>
          </a:bodyPr>
          <a:lstStyle/>
          <a:p>
            <a:r>
              <a:rPr lang="en-IE" sz="1500"/>
              <a:t>Application Modernization</a:t>
            </a:r>
            <a:endParaRPr lang="en-US" sz="150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66437C3-B62A-0133-AF23-0E87BBE47A05}"/>
              </a:ext>
            </a:extLst>
          </p:cNvPr>
          <p:cNvSpPr>
            <a:spLocks noGrp="1"/>
          </p:cNvSpPr>
          <p:nvPr>
            <p:ph type="body" idx="27"/>
          </p:nvPr>
        </p:nvSpPr>
        <p:spPr>
          <a:xfrm>
            <a:off x="882353" y="4822809"/>
            <a:ext cx="2368307" cy="1397274"/>
          </a:xfrm>
        </p:spPr>
        <p:txBody>
          <a:bodyPr>
            <a:normAutofit/>
          </a:bodyPr>
          <a:lstStyle/>
          <a:p>
            <a:r>
              <a:rPr lang="en-US" err="1"/>
              <a:t>Multicloud</a:t>
            </a:r>
            <a:endParaRPr lang="en-US"/>
          </a:p>
          <a:p>
            <a:r>
              <a:rPr lang="en-US"/>
              <a:t>FinOps</a:t>
            </a:r>
          </a:p>
          <a:p>
            <a:r>
              <a:rPr lang="en-IE"/>
              <a:t>    Automated self-service Platform</a:t>
            </a:r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F226D423-26BF-686F-C9E9-6C551D03387D}"/>
              </a:ext>
            </a:extLst>
          </p:cNvPr>
          <p:cNvSpPr>
            <a:spLocks noGrp="1"/>
          </p:cNvSpPr>
          <p:nvPr>
            <p:ph type="body" idx="45"/>
          </p:nvPr>
        </p:nvSpPr>
        <p:spPr>
          <a:xfrm>
            <a:off x="6509430" y="4891909"/>
            <a:ext cx="1968065" cy="1397274"/>
          </a:xfrm>
        </p:spPr>
        <p:txBody>
          <a:bodyPr>
            <a:normAutofit/>
          </a:bodyPr>
          <a:lstStyle/>
          <a:p>
            <a:r>
              <a:rPr lang="de-DE"/>
              <a:t>Data </a:t>
            </a:r>
            <a:r>
              <a:rPr lang="de-DE" err="1"/>
              <a:t>Governance</a:t>
            </a:r>
            <a:endParaRPr lang="de-DE"/>
          </a:p>
          <a:p>
            <a:r>
              <a:rPr lang="en-US"/>
              <a:t>Big Data</a:t>
            </a:r>
          </a:p>
          <a:p>
            <a:r>
              <a:rPr lang="en-US"/>
              <a:t>Data Accessibility</a:t>
            </a:r>
          </a:p>
          <a:p>
            <a:pPr marL="285750" indent="-285750">
              <a:buFontTx/>
              <a:buChar char="-"/>
            </a:pPr>
            <a:endParaRPr lang="en-US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922E7AED-B746-0468-88E0-E88A9B09ED3A}"/>
              </a:ext>
            </a:extLst>
          </p:cNvPr>
          <p:cNvSpPr>
            <a:spLocks noGrp="1"/>
          </p:cNvSpPr>
          <p:nvPr>
            <p:ph type="body" idx="46"/>
          </p:nvPr>
        </p:nvSpPr>
        <p:spPr>
          <a:xfrm>
            <a:off x="8924665" y="4891909"/>
            <a:ext cx="2547670" cy="1397274"/>
          </a:xfrm>
        </p:spPr>
        <p:txBody>
          <a:bodyPr>
            <a:normAutofit/>
          </a:bodyPr>
          <a:lstStyle/>
          <a:p>
            <a:r>
              <a:rPr lang="en-IE"/>
              <a:t>Security and Governance </a:t>
            </a:r>
            <a:endParaRPr lang="en-US"/>
          </a:p>
          <a:p>
            <a:r>
              <a:rPr lang="en-IE"/>
              <a:t>Scalability &amp; Cost optimization</a:t>
            </a:r>
          </a:p>
          <a:p>
            <a:r>
              <a:rPr lang="en-IE"/>
              <a:t>DevOps</a:t>
            </a:r>
            <a:endParaRPr lang="en-US"/>
          </a:p>
        </p:txBody>
      </p:sp>
      <p:pic>
        <p:nvPicPr>
          <p:cNvPr id="3" name="Picture Placeholder 36">
            <a:extLst>
              <a:ext uri="{FF2B5EF4-FFF2-40B4-BE49-F238E27FC236}">
                <a16:creationId xmlns:a16="http://schemas.microsoft.com/office/drawing/2014/main" id="{6748B194-1AC8-238D-CE5C-972C5959BBE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51" r="51"/>
          <a:stretch>
            <a:fillRect/>
          </a:stretch>
        </p:blipFill>
        <p:spPr>
          <a:xfrm>
            <a:off x="4882109" y="240733"/>
            <a:ext cx="1169706" cy="1169704"/>
          </a:xfrm>
          <a:custGeom>
            <a:avLst/>
            <a:gdLst>
              <a:gd name="connsiteX0" fmla="*/ 1877652 w 3755304"/>
              <a:gd name="connsiteY0" fmla="*/ 0 h 3755300"/>
              <a:gd name="connsiteX1" fmla="*/ 3755304 w 3755304"/>
              <a:gd name="connsiteY1" fmla="*/ 1877650 h 3755300"/>
              <a:gd name="connsiteX2" fmla="*/ 1877652 w 3755304"/>
              <a:gd name="connsiteY2" fmla="*/ 3755300 h 3755300"/>
              <a:gd name="connsiteX3" fmla="*/ 0 w 3755304"/>
              <a:gd name="connsiteY3" fmla="*/ 1877650 h 3755300"/>
              <a:gd name="connsiteX4" fmla="*/ 1877652 w 3755304"/>
              <a:gd name="connsiteY4" fmla="*/ 0 h 375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55304" h="3755300">
                <a:moveTo>
                  <a:pt x="1877652" y="0"/>
                </a:moveTo>
                <a:cubicBezTo>
                  <a:pt x="2914651" y="0"/>
                  <a:pt x="3755304" y="840653"/>
                  <a:pt x="3755304" y="1877650"/>
                </a:cubicBezTo>
                <a:cubicBezTo>
                  <a:pt x="3755304" y="2914647"/>
                  <a:pt x="2914651" y="3755300"/>
                  <a:pt x="1877652" y="3755300"/>
                </a:cubicBezTo>
                <a:cubicBezTo>
                  <a:pt x="840653" y="3755300"/>
                  <a:pt x="0" y="2914647"/>
                  <a:pt x="0" y="1877650"/>
                </a:cubicBezTo>
                <a:cubicBezTo>
                  <a:pt x="0" y="840653"/>
                  <a:pt x="840653" y="0"/>
                  <a:pt x="1877652" y="0"/>
                </a:cubicBezTo>
                <a:close/>
              </a:path>
            </a:pathLst>
          </a:custGeom>
        </p:spPr>
      </p:pic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B50BEE2B-7BE0-587D-DC7C-D09715D9F4CD}"/>
              </a:ext>
            </a:extLst>
          </p:cNvPr>
          <p:cNvSpPr>
            <a:spLocks noGrp="1"/>
          </p:cNvSpPr>
          <p:nvPr>
            <p:ph type="body" idx="44"/>
          </p:nvPr>
        </p:nvSpPr>
        <p:spPr>
          <a:xfrm>
            <a:off x="3665344" y="4891909"/>
            <a:ext cx="2257404" cy="1397274"/>
          </a:xfrm>
        </p:spPr>
        <p:txBody>
          <a:bodyPr>
            <a:normAutofit/>
          </a:bodyPr>
          <a:lstStyle/>
          <a:p>
            <a:r>
              <a:rPr lang="en-IE"/>
              <a:t>Security Review</a:t>
            </a:r>
            <a:endParaRPr lang="en-US"/>
          </a:p>
          <a:p>
            <a:r>
              <a:rPr lang="en-IE"/>
              <a:t>Cloud readiness Review</a:t>
            </a:r>
          </a:p>
          <a:p>
            <a:r>
              <a:rPr lang="en-IE"/>
              <a:t> Architecture Review</a:t>
            </a:r>
          </a:p>
          <a:p>
            <a:endParaRPr lang="en-US"/>
          </a:p>
          <a:p>
            <a:endParaRPr lang="en-IE"/>
          </a:p>
        </p:txBody>
      </p:sp>
      <p:pic>
        <p:nvPicPr>
          <p:cNvPr id="39" name="Picture Placeholder 38">
            <a:extLst>
              <a:ext uri="{FF2B5EF4-FFF2-40B4-BE49-F238E27FC236}">
                <a16:creationId xmlns:a16="http://schemas.microsoft.com/office/drawing/2014/main" id="{A8912F7F-139B-023C-D69A-B0BA813F2201}"/>
              </a:ext>
            </a:extLst>
          </p:cNvPr>
          <p:cNvPicPr>
            <a:picLocks noGrp="1" noChangeAspect="1"/>
          </p:cNvPicPr>
          <p:nvPr>
            <p:ph type="pic" sz="quarter" idx="34"/>
          </p:nvPr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-13720" t="-4715" r="4290" b="-4715"/>
          <a:stretch/>
        </p:blipFill>
        <p:spPr>
          <a:xfrm>
            <a:off x="1534484" y="2891447"/>
            <a:ext cx="1064046" cy="1064044"/>
          </a:xfrm>
        </p:spPr>
      </p:pic>
      <p:pic>
        <p:nvPicPr>
          <p:cNvPr id="41" name="Picture Placeholder 40">
            <a:extLst>
              <a:ext uri="{FF2B5EF4-FFF2-40B4-BE49-F238E27FC236}">
                <a16:creationId xmlns:a16="http://schemas.microsoft.com/office/drawing/2014/main" id="{C6264433-B8BD-81E2-620C-1B1E241DEA05}"/>
              </a:ext>
            </a:extLst>
          </p:cNvPr>
          <p:cNvPicPr>
            <a:picLocks noGrp="1" noChangeAspect="1"/>
          </p:cNvPicPr>
          <p:nvPr>
            <p:ph type="pic" sz="quarter" idx="40"/>
          </p:nvPr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 l="51" r="51"/>
          <a:stretch>
            <a:fillRect/>
          </a:stretch>
        </p:blipFill>
        <p:spPr>
          <a:xfrm>
            <a:off x="9492037" y="2845667"/>
            <a:ext cx="1169706" cy="1169704"/>
          </a:xfrm>
        </p:spPr>
      </p:pic>
      <p:pic>
        <p:nvPicPr>
          <p:cNvPr id="35" name="Picture Placeholder 34">
            <a:extLst>
              <a:ext uri="{FF2B5EF4-FFF2-40B4-BE49-F238E27FC236}">
                <a16:creationId xmlns:a16="http://schemas.microsoft.com/office/drawing/2014/main" id="{5767A4C5-392A-745F-801A-2503D62113E9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 l="51" r="51"/>
          <a:stretch>
            <a:fillRect/>
          </a:stretch>
        </p:blipFill>
        <p:spPr>
          <a:xfrm>
            <a:off x="4209193" y="2785787"/>
            <a:ext cx="1169706" cy="1169704"/>
          </a:xfrm>
        </p:spPr>
      </p:pic>
      <p:pic>
        <p:nvPicPr>
          <p:cNvPr id="24" name="Picture Placeholder 36">
            <a:extLst>
              <a:ext uri="{FF2B5EF4-FFF2-40B4-BE49-F238E27FC236}">
                <a16:creationId xmlns:a16="http://schemas.microsoft.com/office/drawing/2014/main" id="{34014D67-EDA8-84FB-E401-981017B958F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51" r="51"/>
          <a:stretch>
            <a:fillRect/>
          </a:stretch>
        </p:blipFill>
        <p:spPr>
          <a:xfrm>
            <a:off x="6908611" y="2838617"/>
            <a:ext cx="1169706" cy="1169704"/>
          </a:xfrm>
          <a:custGeom>
            <a:avLst/>
            <a:gdLst>
              <a:gd name="connsiteX0" fmla="*/ 1877652 w 3755304"/>
              <a:gd name="connsiteY0" fmla="*/ 0 h 3755300"/>
              <a:gd name="connsiteX1" fmla="*/ 3755304 w 3755304"/>
              <a:gd name="connsiteY1" fmla="*/ 1877650 h 3755300"/>
              <a:gd name="connsiteX2" fmla="*/ 1877652 w 3755304"/>
              <a:gd name="connsiteY2" fmla="*/ 3755300 h 3755300"/>
              <a:gd name="connsiteX3" fmla="*/ 0 w 3755304"/>
              <a:gd name="connsiteY3" fmla="*/ 1877650 h 3755300"/>
              <a:gd name="connsiteX4" fmla="*/ 1877652 w 3755304"/>
              <a:gd name="connsiteY4" fmla="*/ 0 h 375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55304" h="3755300">
                <a:moveTo>
                  <a:pt x="1877652" y="0"/>
                </a:moveTo>
                <a:cubicBezTo>
                  <a:pt x="2914651" y="0"/>
                  <a:pt x="3755304" y="840653"/>
                  <a:pt x="3755304" y="1877650"/>
                </a:cubicBezTo>
                <a:cubicBezTo>
                  <a:pt x="3755304" y="2914647"/>
                  <a:pt x="2914651" y="3755300"/>
                  <a:pt x="1877652" y="3755300"/>
                </a:cubicBezTo>
                <a:cubicBezTo>
                  <a:pt x="840653" y="3755300"/>
                  <a:pt x="0" y="2914647"/>
                  <a:pt x="0" y="1877650"/>
                </a:cubicBezTo>
                <a:cubicBezTo>
                  <a:pt x="0" y="840653"/>
                  <a:pt x="840653" y="0"/>
                  <a:pt x="1877652" y="0"/>
                </a:cubicBez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50329373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0814CC-BF48-7623-4695-CF045ADBEC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0797521-38BD-8AB2-38D6-B8642FC5422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INTRODUCTION QUARKUS</a:t>
            </a:r>
          </a:p>
          <a:p>
            <a:r>
              <a:rPr lang="en-US" dirty="0"/>
              <a:t>INTEGRATION WITH KUBERNETES</a:t>
            </a:r>
          </a:p>
        </p:txBody>
      </p:sp>
    </p:spTree>
    <p:extLst>
      <p:ext uri="{BB962C8B-B14F-4D97-AF65-F5344CB8AC3E}">
        <p14:creationId xmlns:p14="http://schemas.microsoft.com/office/powerpoint/2010/main" val="145337916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D61D8D-5EC2-49BA-493F-4E9216795D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oduction </a:t>
            </a:r>
            <a:r>
              <a:rPr lang="en-US" dirty="0" err="1"/>
              <a:t>Quarkus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3B05244-76B3-D904-2434-B1063ED7B92A}"/>
              </a:ext>
            </a:extLst>
          </p:cNvPr>
          <p:cNvSpPr>
            <a:spLocks noGrp="1"/>
          </p:cNvSpPr>
          <p:nvPr>
            <p:ph type="body" sz="half" idx="14"/>
          </p:nvPr>
        </p:nvSpPr>
        <p:spPr/>
        <p:txBody>
          <a:bodyPr/>
          <a:lstStyle/>
          <a:p>
            <a:r>
              <a:rPr lang="en-US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404738416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895A32-A20E-F943-746B-320EFEEA85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oduction </a:t>
            </a:r>
            <a:r>
              <a:rPr lang="en-US" dirty="0" err="1"/>
              <a:t>quarkus</a:t>
            </a:r>
            <a:endParaRPr lang="en-US" dirty="0"/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E66B140D-FFAD-378C-12D4-3FEACC9DD97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1224117" y="1960941"/>
            <a:ext cx="9246706" cy="4216022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573B6B2-5ADA-751E-8F78-360C6339B3D0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r>
              <a:rPr lang="en-US" dirty="0"/>
              <a:t>Homepage: https://</a:t>
            </a:r>
            <a:r>
              <a:rPr lang="en-US" dirty="0" err="1"/>
              <a:t>www.quarkus.co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124899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895A32-A20E-F943-746B-320EFEEA85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oduction </a:t>
            </a:r>
            <a:r>
              <a:rPr lang="en-US" dirty="0" err="1"/>
              <a:t>quarkus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1319A92-354A-39AA-73FC-9D4B0F6FB5B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Open-source framework for developing cloud-native Java applications</a:t>
            </a:r>
          </a:p>
          <a:p>
            <a:r>
              <a:rPr lang="en-GB" dirty="0"/>
              <a:t>Improve performance of Java applications</a:t>
            </a:r>
          </a:p>
          <a:p>
            <a:r>
              <a:rPr lang="en-GB" dirty="0"/>
              <a:t>Enhance the productivity of Java developers</a:t>
            </a:r>
          </a:p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573B6B2-5ADA-751E-8F78-360C6339B3D0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r>
              <a:rPr lang="en-US" dirty="0"/>
              <a:t>What is </a:t>
            </a:r>
            <a:r>
              <a:rPr lang="en-US" dirty="0" err="1"/>
              <a:t>Quarkus</a:t>
            </a:r>
            <a:r>
              <a:rPr lang="en-US" dirty="0"/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28340714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VO"/>
  <p:tag name="EE4P_MAPWIZARD_HEADINGS" val="Admin 1"/>
  <p:tag name="EE4P_MAPWIZARD" val="Vorarlber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U"/>
  <p:tag name="EE4P_MAPWIZARD_HEADINGS" val="Admin 1"/>
  <p:tag name="EE4P_MAPWIZARD" val="Burgenland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T"/>
  <p:tag name="EE4P_MAPWIZARD_HEADINGS" val="Admin 1"/>
  <p:tag name="EE4P_MAPWIZARD" val="Steiermark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KA"/>
  <p:tag name="EE4P_MAPWIZARD_HEADINGS" val="Admin 1"/>
  <p:tag name="EE4P_MAPWIZARD" val="Kärnte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OO"/>
  <p:tag name="EE4P_MAPWIZARD_HEADINGS" val="Admin 1"/>
  <p:tag name="EE4P_MAPWIZARD" val="Oberösterreich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Z"/>
  <p:tag name="EE4P_MAPWIZARD_HEADINGS" val="Admin 1"/>
  <p:tag name="EE4P_MAPWIZARD" val="Salzbur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TR"/>
  <p:tag name="EE4P_MAPWIZARD_HEADINGS" val="Admin 1"/>
  <p:tag name="EE4P_MAPWIZARD" val="Tirol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O"/>
  <p:tag name="EE4P_MAPWIZARD_HEADINGS" val="Admin 1"/>
  <p:tag name="EE4P_MAPWIZARD" val="Niederösterreich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WI"/>
  <p:tag name="EE4P_MAPWIZARD_HEADINGS" val="Admin 1"/>
  <p:tag name="EE4P_MAPWIZARD" val="Wien"/>
</p:tagLst>
</file>

<file path=ppt/theme/theme1.xml><?xml version="1.0" encoding="utf-8"?>
<a:theme xmlns:a="http://schemas.openxmlformats.org/drawingml/2006/main" name="Titles+Dividers ">
  <a:themeElements>
    <a:clrScheme name="Posedio">
      <a:dk1>
        <a:srgbClr val="191919"/>
      </a:dk1>
      <a:lt1>
        <a:srgbClr val="FEFFFF"/>
      </a:lt1>
      <a:dk2>
        <a:srgbClr val="E7FF0A"/>
      </a:dk2>
      <a:lt2>
        <a:srgbClr val="F0F0F0"/>
      </a:lt2>
      <a:accent1>
        <a:srgbClr val="B300FF"/>
      </a:accent1>
      <a:accent2>
        <a:srgbClr val="E7FF0A"/>
      </a:accent2>
      <a:accent3>
        <a:srgbClr val="2FE9DB"/>
      </a:accent3>
      <a:accent4>
        <a:srgbClr val="8AE837"/>
      </a:accent4>
      <a:accent5>
        <a:srgbClr val="FFB600"/>
      </a:accent5>
      <a:accent6>
        <a:srgbClr val="F356CF"/>
      </a:accent6>
      <a:hlink>
        <a:srgbClr val="5757FF"/>
      </a:hlink>
      <a:folHlink>
        <a:srgbClr val="5757FF"/>
      </a:folHlink>
    </a:clrScheme>
    <a:fontScheme name="Posedio">
      <a:majorFont>
        <a:latin typeface="Montserrat Medium"/>
        <a:ea typeface=""/>
        <a:cs typeface=""/>
      </a:majorFont>
      <a:minorFont>
        <a:latin typeface="Montserra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smtClean="0">
            <a:ln>
              <a:noFill/>
            </a:ln>
            <a:solidFill>
              <a:schemeClr val="tx1"/>
            </a:solidFill>
          </a:defRPr>
        </a:defPPr>
      </a:lstStyle>
      <a:style>
        <a:lnRef idx="2">
          <a:schemeClr val="accent2">
            <a:shade val="50000"/>
          </a:schemeClr>
        </a:lnRef>
        <a:fillRef idx="1">
          <a:schemeClr val="accent2"/>
        </a:fillRef>
        <a:effectRef idx="0">
          <a:schemeClr val="accent2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esentation3" id="{0E1511C6-D61F-914C-86BE-74DC40719728}" vid="{6B4F0F34-34AB-0348-88AA-2DD6BA7A8478}"/>
    </a:ext>
  </a:extLst>
</a:theme>
</file>

<file path=ppt/theme/theme2.xml><?xml version="1.0" encoding="utf-8"?>
<a:theme xmlns:a="http://schemas.openxmlformats.org/drawingml/2006/main" name="Content Slides">
  <a:themeElements>
    <a:clrScheme name="Posedio">
      <a:dk1>
        <a:srgbClr val="191919"/>
      </a:dk1>
      <a:lt1>
        <a:srgbClr val="FEFFFF"/>
      </a:lt1>
      <a:dk2>
        <a:srgbClr val="E7FF0A"/>
      </a:dk2>
      <a:lt2>
        <a:srgbClr val="F1F1F1"/>
      </a:lt2>
      <a:accent1>
        <a:srgbClr val="B300FF"/>
      </a:accent1>
      <a:accent2>
        <a:srgbClr val="E7FF0A"/>
      </a:accent2>
      <a:accent3>
        <a:srgbClr val="0AEBFF"/>
      </a:accent3>
      <a:accent4>
        <a:srgbClr val="FF990A"/>
      </a:accent4>
      <a:accent5>
        <a:srgbClr val="FF0AEB"/>
      </a:accent5>
      <a:accent6>
        <a:srgbClr val="0AFF1E"/>
      </a:accent6>
      <a:hlink>
        <a:srgbClr val="5757FF"/>
      </a:hlink>
      <a:folHlink>
        <a:srgbClr val="5757FF"/>
      </a:folHlink>
    </a:clrScheme>
    <a:fontScheme name="Posedio">
      <a:majorFont>
        <a:latin typeface="Montserrat Medium"/>
        <a:ea typeface=""/>
        <a:cs typeface=""/>
      </a:majorFont>
      <a:minorFont>
        <a:latin typeface="Montserra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smtClean="0">
            <a:ln>
              <a:noFill/>
            </a:ln>
            <a:solidFill>
              <a:schemeClr val="tx1"/>
            </a:solidFill>
          </a:defRPr>
        </a:defPPr>
      </a:lstStyle>
      <a:style>
        <a:lnRef idx="2">
          <a:schemeClr val="accent2">
            <a:shade val="50000"/>
          </a:schemeClr>
        </a:lnRef>
        <a:fillRef idx="1">
          <a:schemeClr val="accent2"/>
        </a:fillRef>
        <a:effectRef idx="0">
          <a:schemeClr val="accent2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esentation3" id="{0E1511C6-D61F-914C-86BE-74DC40719728}" vid="{6ABE642A-35C0-8F4A-B084-57AADD2A61B9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F0D0FC92542D2C42AF6BEAB4429C0470" ma:contentTypeVersion="17" ma:contentTypeDescription="Ein neues Dokument erstellen." ma:contentTypeScope="" ma:versionID="129bfd4063db0efe8190e467c0856bba">
  <xsd:schema xmlns:xsd="http://www.w3.org/2001/XMLSchema" xmlns:xs="http://www.w3.org/2001/XMLSchema" xmlns:p="http://schemas.microsoft.com/office/2006/metadata/properties" xmlns:ns2="26aed16d-06ef-4be7-a10f-558b06fcbbc7" xmlns:ns3="9346d0bb-bdf7-4970-be4e-30f0aac25503" targetNamespace="http://schemas.microsoft.com/office/2006/metadata/properties" ma:root="true" ma:fieldsID="d0f09d24973fd8e10001428e5357d762" ns2:_="" ns3:_="">
    <xsd:import namespace="26aed16d-06ef-4be7-a10f-558b06fcbbc7"/>
    <xsd:import namespace="9346d0bb-bdf7-4970-be4e-30f0aac25503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LengthInSeconds" minOccurs="0"/>
                <xsd:element ref="ns3:Datum" minOccurs="0"/>
                <xsd:element ref="ns3:lcf76f155ced4ddcb4097134ff3c332f" minOccurs="0"/>
                <xsd:element ref="ns2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6aed16d-06ef-4be7-a10f-558b06fcbbc7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d419ad9c-0235-4e7e-8ae8-8ef37640172f}" ma:internalName="TaxCatchAll" ma:showField="CatchAllData" ma:web="26aed16d-06ef-4be7-a10f-558b06fcbbc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346d0bb-bdf7-4970-be4e-30f0aac2550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Datum" ma:index="21" nillable="true" ma:displayName="Datum" ma:format="DateOnly" ma:internalName="Datum">
      <xsd:simpleType>
        <xsd:restriction base="dms:DateTime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65499ae4-2e01-4b6a-aa2f-0448c121695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ediaLengthInSeconds xmlns="9346d0bb-bdf7-4970-be4e-30f0aac25503" xsi:nil="true"/>
    <Datum xmlns="9346d0bb-bdf7-4970-be4e-30f0aac25503" xsi:nil="true"/>
    <SharedWithUsers xmlns="26aed16d-06ef-4be7-a10f-558b06fcbbc7">
      <UserInfo>
        <DisplayName/>
        <AccountId xsi:nil="true"/>
        <AccountType/>
      </UserInfo>
    </SharedWithUsers>
    <lcf76f155ced4ddcb4097134ff3c332f xmlns="9346d0bb-bdf7-4970-be4e-30f0aac25503">
      <Terms xmlns="http://schemas.microsoft.com/office/infopath/2007/PartnerControls"/>
    </lcf76f155ced4ddcb4097134ff3c332f>
    <TaxCatchAll xmlns="26aed16d-06ef-4be7-a10f-558b06fcbbc7" xsi:nil="true"/>
  </documentManagement>
</p:properties>
</file>

<file path=customXml/itemProps1.xml><?xml version="1.0" encoding="utf-8"?>
<ds:datastoreItem xmlns:ds="http://schemas.openxmlformats.org/officeDocument/2006/customXml" ds:itemID="{77ADBDC5-D7D9-4F7A-95E0-6DEA2A0073F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7901D68-94D6-4F46-90AA-518DCD00734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6aed16d-06ef-4be7-a10f-558b06fcbbc7"/>
    <ds:schemaRef ds:uri="9346d0bb-bdf7-4970-be4e-30f0aac2550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7358069E-FDBE-4AC5-AD09-FD8F77017DD8}">
  <ds:schemaRefs>
    <ds:schemaRef ds:uri="http://schemas.microsoft.com/office/2006/metadata/properties"/>
    <ds:schemaRef ds:uri="9346d0bb-bdf7-4970-be4e-30f0aac25503"/>
    <ds:schemaRef ds:uri="http://schemas.microsoft.com/office/infopath/2007/PartnerControls"/>
    <ds:schemaRef ds:uri="http://schemas.microsoft.com/office/2006/documentManagement/types"/>
    <ds:schemaRef ds:uri="http://purl.org/dc/elements/1.1/"/>
    <ds:schemaRef ds:uri="http://purl.org/dc/terms/"/>
    <ds:schemaRef ds:uri="http://purl.org/dc/dcmitype/"/>
    <ds:schemaRef ds:uri="http://schemas.openxmlformats.org/package/2006/metadata/core-properties"/>
    <ds:schemaRef ds:uri="26aed16d-06ef-4be7-a10f-558b06fcbbc7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itles+Dividers </Template>
  <TotalTime>5732</TotalTime>
  <Words>571</Words>
  <Application>Microsoft Macintosh PowerPoint</Application>
  <PresentationFormat>Widescreen</PresentationFormat>
  <Paragraphs>198</Paragraphs>
  <Slides>28</Slides>
  <Notes>20</Notes>
  <HiddenSlides>0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28</vt:i4>
      </vt:variant>
    </vt:vector>
  </HeadingPairs>
  <TitlesOfParts>
    <vt:vector size="37" baseType="lpstr">
      <vt:lpstr>Arial</vt:lpstr>
      <vt:lpstr>Avenir Next LT Pro</vt:lpstr>
      <vt:lpstr>Calibri</vt:lpstr>
      <vt:lpstr>Montserrat</vt:lpstr>
      <vt:lpstr>Montserrat Light</vt:lpstr>
      <vt:lpstr>Montserrat Medium</vt:lpstr>
      <vt:lpstr>Söhne</vt:lpstr>
      <vt:lpstr>Titles+Dividers </vt:lpstr>
      <vt:lpstr>Content Slides</vt:lpstr>
      <vt:lpstr>PowerPoint Presentation</vt:lpstr>
      <vt:lpstr>Quarkus on K8s</vt:lpstr>
      <vt:lpstr>TBT</vt:lpstr>
      <vt:lpstr>POSEDIO GMbH</vt:lpstr>
      <vt:lpstr>Services</vt:lpstr>
      <vt:lpstr>AGENDA</vt:lpstr>
      <vt:lpstr>Introduction Quarkus</vt:lpstr>
      <vt:lpstr>Introduction quarkus</vt:lpstr>
      <vt:lpstr>Introduction quarkus</vt:lpstr>
      <vt:lpstr>Introduction quarkus</vt:lpstr>
      <vt:lpstr>Introduction quarkus</vt:lpstr>
      <vt:lpstr>Introduction quarkus</vt:lpstr>
      <vt:lpstr>Integration with Kubernetes</vt:lpstr>
      <vt:lpstr>Integration WITH KUBernetes</vt:lpstr>
      <vt:lpstr>Integration with Kubernetes</vt:lpstr>
      <vt:lpstr>Integration with Kubernetes</vt:lpstr>
      <vt:lpstr>Integration with Kubernetes</vt:lpstr>
      <vt:lpstr>Integration with Kubernetes</vt:lpstr>
      <vt:lpstr>Integration with Kubernetes</vt:lpstr>
      <vt:lpstr>Integration with Kubernetes</vt:lpstr>
      <vt:lpstr>Integration with Kubernetes</vt:lpstr>
      <vt:lpstr>Integration with Kubernetes</vt:lpstr>
      <vt:lpstr>Integration with Kubernetes</vt:lpstr>
      <vt:lpstr>Challenge Distributed Tracing</vt:lpstr>
      <vt:lpstr>Challenge Distributed Tracing</vt:lpstr>
      <vt:lpstr>Solution</vt:lpstr>
      <vt:lpstr>Summary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arianne Rieder</dc:creator>
  <cp:lastModifiedBy>Onur Kasimlar</cp:lastModifiedBy>
  <cp:revision>46</cp:revision>
  <cp:lastPrinted>2023-06-05T11:50:01Z</cp:lastPrinted>
  <dcterms:created xsi:type="dcterms:W3CDTF">2023-03-16T15:05:02Z</dcterms:created>
  <dcterms:modified xsi:type="dcterms:W3CDTF">2024-04-10T15:18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  <property fmtid="{D5CDD505-2E9C-101B-9397-08002B2CF9AE}" pid="3" name="ContentTypeId">
    <vt:lpwstr>0x010100F0D0FC92542D2C42AF6BEAB4429C0470</vt:lpwstr>
  </property>
</Properties>
</file>